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15"/>
  </p:notesMasterIdLst>
  <p:sldIdLst>
    <p:sldId id="256" r:id="rId2"/>
    <p:sldId id="257" r:id="rId3"/>
    <p:sldId id="258" r:id="rId4"/>
    <p:sldId id="259" r:id="rId5"/>
    <p:sldId id="260" r:id="rId6"/>
    <p:sldId id="261" r:id="rId7"/>
    <p:sldId id="262" r:id="rId8"/>
    <p:sldId id="263" r:id="rId9"/>
    <p:sldId id="264" r:id="rId10"/>
    <p:sldId id="265" r:id="rId11"/>
    <p:sldId id="266" r:id="rId12"/>
    <p:sldId id="267" r:id="rId13"/>
    <p:sldId id="268" r:id="rId14"/>
  </p:sldIdLst>
  <p:sldSz cx="12192000" cy="6858000"/>
  <p:notesSz cx="6858000" cy="9144000"/>
  <p:custDataLst>
    <p:tags r:id="rId16"/>
  </p:custDataLst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ptos" panose="020B00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30F4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091" autoAdjust="0"/>
    <p:restoredTop sz="94718"/>
  </p:normalViewPr>
  <p:slideViewPr>
    <p:cSldViewPr snapToGrid="0">
      <p:cViewPr varScale="1">
        <p:scale>
          <a:sx n="60" d="100"/>
          <a:sy n="60" d="100"/>
        </p:scale>
        <p:origin x="1136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microsoft.com/office/2016/11/relationships/changesInfo" Target="changesInfos/changesInfo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y Ziganshin" userId="b120afe6-0ff1-44de-8002-86ab6bfe6313" providerId="ADAL" clId="{BC0CBB73-B0E5-43F5-A655-29B52D6BEFAC}"/>
    <pc:docChg chg="delSld">
      <pc:chgData name="Andrey Ziganshin" userId="b120afe6-0ff1-44de-8002-86ab6bfe6313" providerId="ADAL" clId="{BC0CBB73-B0E5-43F5-A655-29B52D6BEFAC}" dt="2024-12-10T07:18:55.955" v="0" actId="47"/>
      <pc:docMkLst>
        <pc:docMk/>
      </pc:docMkLst>
      <pc:sldChg chg="del">
        <pc:chgData name="Andrey Ziganshin" userId="b120afe6-0ff1-44de-8002-86ab6bfe6313" providerId="ADAL" clId="{BC0CBB73-B0E5-43F5-A655-29B52D6BEFAC}" dt="2024-12-10T07:18:55.955" v="0" actId="47"/>
        <pc:sldMkLst>
          <pc:docMk/>
          <pc:sldMk cId="0" sldId="269"/>
        </pc:sldMkLst>
      </pc:sldChg>
    </pc:docChg>
  </pc:docChgLst>
  <pc:docChgLst>
    <pc:chgData name="Alexander Krivosheev" userId="38a4f4a6-160f-4753-85ba-05eb78187c61" providerId="ADAL" clId="{2EF9A56A-19DA-4483-9240-B11D969698F6}"/>
    <pc:docChg chg="modSld">
      <pc:chgData name="Alexander Krivosheev" userId="38a4f4a6-160f-4753-85ba-05eb78187c61" providerId="ADAL" clId="{2EF9A56A-19DA-4483-9240-B11D969698F6}" dt="2024-10-11T12:11:05.529" v="21" actId="20577"/>
      <pc:docMkLst>
        <pc:docMk/>
      </pc:docMkLst>
      <pc:sldChg chg="modSp mod">
        <pc:chgData name="Alexander Krivosheev" userId="38a4f4a6-160f-4753-85ba-05eb78187c61" providerId="ADAL" clId="{2EF9A56A-19DA-4483-9240-B11D969698F6}" dt="2024-10-11T12:11:05.529" v="21" actId="20577"/>
        <pc:sldMkLst>
          <pc:docMk/>
          <pc:sldMk cId="0" sldId="262"/>
        </pc:sldMkLst>
        <pc:spChg chg="mod">
          <ac:chgData name="Alexander Krivosheev" userId="38a4f4a6-160f-4753-85ba-05eb78187c61" providerId="ADAL" clId="{2EF9A56A-19DA-4483-9240-B11D969698F6}" dt="2024-10-11T12:11:05.529" v="21" actId="20577"/>
          <ac:spMkLst>
            <pc:docMk/>
            <pc:sldMk cId="0" sldId="262"/>
            <ac:spMk id="7171" creationId="{837BFED4-48EB-16F5-36C3-7CC97944636E}"/>
          </ac:spMkLst>
        </pc:s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F3291722-79FA-3653-81EA-434441B5BD8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A39C0989-C112-5BE0-DD30-593BDC6CFC6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245F6853-D2E7-D943-841E-45C2C9EFAE8F}" type="datetimeFigureOut">
              <a:rPr lang="ru-RU"/>
              <a:pPr>
                <a:defRPr/>
              </a:pPr>
              <a:t>10.12.2024</a:t>
            </a:fld>
            <a:endParaRPr lang="ru-RU"/>
          </a:p>
        </p:txBody>
      </p:sp>
      <p:sp>
        <p:nvSpPr>
          <p:cNvPr id="4" name="Образ слайда 3">
            <a:extLst>
              <a:ext uri="{FF2B5EF4-FFF2-40B4-BE49-F238E27FC236}">
                <a16:creationId xmlns:a16="http://schemas.microsoft.com/office/drawing/2014/main" id="{EFEBEFA4-4488-67E1-EF89-04C052225AEA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>
            <a:extLst>
              <a:ext uri="{FF2B5EF4-FFF2-40B4-BE49-F238E27FC236}">
                <a16:creationId xmlns:a16="http://schemas.microsoft.com/office/drawing/2014/main" id="{8E8A6DDA-B856-E1E7-7FCC-240250350BF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noProof="0"/>
              <a:t>Образец текста</a:t>
            </a:r>
          </a:p>
          <a:p>
            <a:pPr lvl="1"/>
            <a:r>
              <a:rPr lang="ru-RU" noProof="0"/>
              <a:t>Второй уровень</a:t>
            </a:r>
          </a:p>
          <a:p>
            <a:pPr lvl="2"/>
            <a:r>
              <a:rPr lang="ru-RU" noProof="0"/>
              <a:t>Третий уровень</a:t>
            </a:r>
          </a:p>
          <a:p>
            <a:pPr lvl="3"/>
            <a:r>
              <a:rPr lang="ru-RU" noProof="0"/>
              <a:t>Четвертый уровень</a:t>
            </a:r>
          </a:p>
          <a:p>
            <a:pPr lvl="4"/>
            <a:r>
              <a:rPr lang="ru-RU" noProof="0"/>
              <a:t>Пятый уровень</a:t>
            </a:r>
          </a:p>
        </p:txBody>
      </p:sp>
      <p:sp>
        <p:nvSpPr>
          <p:cNvPr id="6" name="Нижний колонтитул 5">
            <a:extLst>
              <a:ext uri="{FF2B5EF4-FFF2-40B4-BE49-F238E27FC236}">
                <a16:creationId xmlns:a16="http://schemas.microsoft.com/office/drawing/2014/main" id="{42A69630-69C9-C004-5160-8344BCE678EE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>
            <a:extLst>
              <a:ext uri="{FF2B5EF4-FFF2-40B4-BE49-F238E27FC236}">
                <a16:creationId xmlns:a16="http://schemas.microsoft.com/office/drawing/2014/main" id="{C59AB76D-1636-1F61-AAE2-8A0CA141980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FCA7FE57-D7B7-1D4D-A51E-C11B12C5567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Образ слайда 1">
            <a:extLst>
              <a:ext uri="{FF2B5EF4-FFF2-40B4-BE49-F238E27FC236}">
                <a16:creationId xmlns:a16="http://schemas.microsoft.com/office/drawing/2014/main" id="{69031510-84A6-29A7-F0EB-82B3EB7D912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2" name="Заметки 2">
            <a:extLst>
              <a:ext uri="{FF2B5EF4-FFF2-40B4-BE49-F238E27FC236}">
                <a16:creationId xmlns:a16="http://schemas.microsoft.com/office/drawing/2014/main" id="{5A842939-4DF6-F737-F809-E3895EAEF3E6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/>
          </a:p>
        </p:txBody>
      </p:sp>
      <p:sp>
        <p:nvSpPr>
          <p:cNvPr id="10243" name="Номер слайда 3">
            <a:extLst>
              <a:ext uri="{FF2B5EF4-FFF2-40B4-BE49-F238E27FC236}">
                <a16:creationId xmlns:a16="http://schemas.microsoft.com/office/drawing/2014/main" id="{B0A71970-E37F-D857-503C-2DDC51B5DF89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F43150A-A424-5946-87EB-20D4A5D4B138}" type="slidenum">
              <a:rPr lang="ru-RU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5" name="Образ слайда 1">
            <a:extLst>
              <a:ext uri="{FF2B5EF4-FFF2-40B4-BE49-F238E27FC236}">
                <a16:creationId xmlns:a16="http://schemas.microsoft.com/office/drawing/2014/main" id="{4DE4DD7C-E079-C0FF-D546-3061429C529B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6" name="Заметки 2">
            <a:extLst>
              <a:ext uri="{FF2B5EF4-FFF2-40B4-BE49-F238E27FC236}">
                <a16:creationId xmlns:a16="http://schemas.microsoft.com/office/drawing/2014/main" id="{C58CC776-1ADE-2CD2-C4C0-1EA92078C87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11267" name="Номер слайда 3">
            <a:extLst>
              <a:ext uri="{FF2B5EF4-FFF2-40B4-BE49-F238E27FC236}">
                <a16:creationId xmlns:a16="http://schemas.microsoft.com/office/drawing/2014/main" id="{9E13BF36-87E1-355E-2F8B-6371C6B3B10F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7C35412-67C5-574A-8536-7ABDAC0515ED}" type="slidenum">
              <a:rPr lang="ru-RU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89" name="Образ слайда 1">
            <a:extLst>
              <a:ext uri="{FF2B5EF4-FFF2-40B4-BE49-F238E27FC236}">
                <a16:creationId xmlns:a16="http://schemas.microsoft.com/office/drawing/2014/main" id="{895B1DEC-606B-45F8-AA0E-985126DB4F8E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0" name="Заметки 2">
            <a:extLst>
              <a:ext uri="{FF2B5EF4-FFF2-40B4-BE49-F238E27FC236}">
                <a16:creationId xmlns:a16="http://schemas.microsoft.com/office/drawing/2014/main" id="{EDF9A4F4-E33C-FEC9-9B8E-A442EE78784B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/>
          </a:p>
        </p:txBody>
      </p:sp>
      <p:sp>
        <p:nvSpPr>
          <p:cNvPr id="12291" name="Номер слайда 3">
            <a:extLst>
              <a:ext uri="{FF2B5EF4-FFF2-40B4-BE49-F238E27FC236}">
                <a16:creationId xmlns:a16="http://schemas.microsoft.com/office/drawing/2014/main" id="{646F679F-A389-7130-A1DC-37F6121D74F7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CB41DA3-EE46-A744-963B-980FD949C4AF}" type="slidenum">
              <a:rPr lang="ru-RU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Образ слайда 1">
            <a:extLst>
              <a:ext uri="{FF2B5EF4-FFF2-40B4-BE49-F238E27FC236}">
                <a16:creationId xmlns:a16="http://schemas.microsoft.com/office/drawing/2014/main" id="{285B106B-338A-6CA3-7466-63DEA79ED509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3314" name="Заметки 2">
            <a:extLst>
              <a:ext uri="{FF2B5EF4-FFF2-40B4-BE49-F238E27FC236}">
                <a16:creationId xmlns:a16="http://schemas.microsoft.com/office/drawing/2014/main" id="{CBFB3D9D-3BAA-2406-777B-1C28E9D2A38F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/>
          </a:p>
        </p:txBody>
      </p:sp>
      <p:sp>
        <p:nvSpPr>
          <p:cNvPr id="13315" name="Номер слайда 3">
            <a:extLst>
              <a:ext uri="{FF2B5EF4-FFF2-40B4-BE49-F238E27FC236}">
                <a16:creationId xmlns:a16="http://schemas.microsoft.com/office/drawing/2014/main" id="{2F3AC561-BC83-84D7-66C1-1D88ECC6C341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5A99398-4DC5-8C4B-84F6-615DC62B3A38}" type="slidenum">
              <a:rPr lang="ru-RU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ru-RU" alt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FCA7FE57-D7B7-1D4D-A51E-C11B12C55675}" type="slidenum">
              <a:rPr lang="ru-RU" smtClean="0"/>
              <a:pPr>
                <a:defRPr/>
              </a:pPr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18488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135599A1-EBC3-AE84-51B4-A252016746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7D0FE6-71D7-8145-A862-4D23658D97F7}" type="datetimeFigureOut">
              <a:rPr lang="ru-RU"/>
              <a:pPr>
                <a:defRPr/>
              </a:pPr>
              <a:t>10.12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F906DAA2-6322-D13D-3575-971F13C354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AFFA3A8-1457-330B-0DE9-B3445093DC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B416E3-8D6E-3543-AB87-E7C9B713B45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84226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017D00C3-13EF-E22F-3CF0-DC8D9316175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9EA06AE-5707-5A46-8DE2-B33B5F9DC692}" type="datetimeFigureOut">
              <a:rPr lang="ru-RU"/>
              <a:pPr>
                <a:defRPr/>
              </a:pPr>
              <a:t>10.12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CD3D5AAF-E285-8D66-AF12-E55D39B55F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C2F3F08D-3762-4E42-98C6-27AE8BBBDC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743F92-21B8-E743-B57C-AC2F23EE34D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723622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8B79F6F8-30B8-DD97-2A7D-DCE3917246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EB3865-CCA8-9A4F-9C11-7D6F637C5078}" type="datetimeFigureOut">
              <a:rPr lang="ru-RU"/>
              <a:pPr>
                <a:defRPr/>
              </a:pPr>
              <a:t>10.12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857978B-F8DF-551A-A4CA-BB12E48F88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500AD61-2564-EB56-C2B8-CDF19C426C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E2F40A-2155-9048-AF7A-25DCFD15B0F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10205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9D5E8F01-630D-33A3-B2DA-16E13E3339E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8A74C4-6294-7740-928E-4BBFF788394D}" type="datetimeFigureOut">
              <a:rPr lang="ru-RU"/>
              <a:pPr>
                <a:defRPr/>
              </a:pPr>
              <a:t>10.12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DD9F533F-4255-3383-0C4D-74B8083439F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A47C1AFA-C80A-6276-FB42-42D8611315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8AFBA3-1388-ED47-98B7-AD08B2E5003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37903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BF082121-2C15-5BB8-2DD4-B4472A81E2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2FF4A4-F58F-9546-BEAE-5A3001B1D2AE}" type="datetimeFigureOut">
              <a:rPr lang="ru-RU"/>
              <a:pPr>
                <a:defRPr/>
              </a:pPr>
              <a:t>10.12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7CFAD612-9ADD-ECFE-9BAC-3DB0B46943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7D806768-779F-5FE1-BEDD-0CB83EA67A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ACF95F-16F6-8042-9E2A-969C59FE3486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583546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8B6A87C0-BFBB-9132-863F-281AC3375D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B1BF40-7369-384C-977B-383B55ADE26B}" type="datetimeFigureOut">
              <a:rPr lang="ru-RU"/>
              <a:pPr>
                <a:defRPr/>
              </a:pPr>
              <a:t>10.12.2024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598EE5AD-8E49-9348-62AE-F7F6E8551E5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ACFB3946-E8DD-89DC-9A35-CD1A6CC2C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CEA7F4-7F6E-8B44-8B0C-9284A93BD99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58553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3">
            <a:extLst>
              <a:ext uri="{FF2B5EF4-FFF2-40B4-BE49-F238E27FC236}">
                <a16:creationId xmlns:a16="http://schemas.microsoft.com/office/drawing/2014/main" id="{0AE5A48E-6954-E718-3CBD-9B4C4F3759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054ADC6-CBB7-3C4A-B367-D1DAAAA0D798}" type="datetimeFigureOut">
              <a:rPr lang="ru-RU"/>
              <a:pPr>
                <a:defRPr/>
              </a:pPr>
              <a:t>10.12.2024</a:t>
            </a:fld>
            <a:endParaRPr lang="ru-RU"/>
          </a:p>
        </p:txBody>
      </p:sp>
      <p:sp>
        <p:nvSpPr>
          <p:cNvPr id="8" name="Нижний колонтитул 4">
            <a:extLst>
              <a:ext uri="{FF2B5EF4-FFF2-40B4-BE49-F238E27FC236}">
                <a16:creationId xmlns:a16="http://schemas.microsoft.com/office/drawing/2014/main" id="{D73ED428-16B5-224C-278F-90DCDFBF39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>
            <a:extLst>
              <a:ext uri="{FF2B5EF4-FFF2-40B4-BE49-F238E27FC236}">
                <a16:creationId xmlns:a16="http://schemas.microsoft.com/office/drawing/2014/main" id="{638A5697-96D6-072F-1FE7-CD9CF6B7C8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9B8E55-96A9-E045-B651-192751F038F0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16073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3">
            <a:extLst>
              <a:ext uri="{FF2B5EF4-FFF2-40B4-BE49-F238E27FC236}">
                <a16:creationId xmlns:a16="http://schemas.microsoft.com/office/drawing/2014/main" id="{111E9744-2B93-6146-E998-7EA9983B06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18CB96-B1F8-6A49-95BE-0B9E29F1738A}" type="datetimeFigureOut">
              <a:rPr lang="ru-RU"/>
              <a:pPr>
                <a:defRPr/>
              </a:pPr>
              <a:t>10.12.2024</a:t>
            </a:fld>
            <a:endParaRPr lang="ru-RU"/>
          </a:p>
        </p:txBody>
      </p:sp>
      <p:sp>
        <p:nvSpPr>
          <p:cNvPr id="4" name="Нижний колонтитул 4">
            <a:extLst>
              <a:ext uri="{FF2B5EF4-FFF2-40B4-BE49-F238E27FC236}">
                <a16:creationId xmlns:a16="http://schemas.microsoft.com/office/drawing/2014/main" id="{95A3E73B-E4E2-A171-842C-B89C87A5CD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>
            <a:extLst>
              <a:ext uri="{FF2B5EF4-FFF2-40B4-BE49-F238E27FC236}">
                <a16:creationId xmlns:a16="http://schemas.microsoft.com/office/drawing/2014/main" id="{48309F71-0F4C-6FA6-F222-80972FA2D2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A3F2E6-4B65-0E4B-B548-698691029B9C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90117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3">
            <a:extLst>
              <a:ext uri="{FF2B5EF4-FFF2-40B4-BE49-F238E27FC236}">
                <a16:creationId xmlns:a16="http://schemas.microsoft.com/office/drawing/2014/main" id="{3A035C52-0CA3-369D-198E-00EB11A5F2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A1666A-0355-E04E-9A39-65BDB9D9832F}" type="datetimeFigureOut">
              <a:rPr lang="ru-RU"/>
              <a:pPr>
                <a:defRPr/>
              </a:pPr>
              <a:t>10.12.2024</a:t>
            </a:fld>
            <a:endParaRPr lang="ru-RU"/>
          </a:p>
        </p:txBody>
      </p:sp>
      <p:sp>
        <p:nvSpPr>
          <p:cNvPr id="3" name="Нижний колонтитул 4">
            <a:extLst>
              <a:ext uri="{FF2B5EF4-FFF2-40B4-BE49-F238E27FC236}">
                <a16:creationId xmlns:a16="http://schemas.microsoft.com/office/drawing/2014/main" id="{F5ABB4F3-E806-E51E-2438-8C3E3C6E3C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>
            <a:extLst>
              <a:ext uri="{FF2B5EF4-FFF2-40B4-BE49-F238E27FC236}">
                <a16:creationId xmlns:a16="http://schemas.microsoft.com/office/drawing/2014/main" id="{3CCE61EE-E36F-2BB2-E1F1-439BA189CC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5D409B-4B70-9F4B-8D83-F8176303585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844450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6B38CC9E-B944-CF1C-7866-7FF681E2CD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4B06F36-8903-514D-83FF-9B206F2982AD}" type="datetimeFigureOut">
              <a:rPr lang="ru-RU"/>
              <a:pPr>
                <a:defRPr/>
              </a:pPr>
              <a:t>10.12.2024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530FABA0-C389-6FFC-E1F1-E5C72B3B692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69A1BE54-A1AD-1A58-BA6F-29FF121B39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7540F1-13BA-294E-ABC3-1A6FD8D4C50D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62898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3">
            <a:extLst>
              <a:ext uri="{FF2B5EF4-FFF2-40B4-BE49-F238E27FC236}">
                <a16:creationId xmlns:a16="http://schemas.microsoft.com/office/drawing/2014/main" id="{E71BB34F-92CF-A422-B5A8-9D6CA15930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A93E31-3900-4F45-8F8F-FA380053A24D}" type="datetimeFigureOut">
              <a:rPr lang="ru-RU"/>
              <a:pPr>
                <a:defRPr/>
              </a:pPr>
              <a:t>10.12.2024</a:t>
            </a:fld>
            <a:endParaRPr lang="ru-RU"/>
          </a:p>
        </p:txBody>
      </p:sp>
      <p:sp>
        <p:nvSpPr>
          <p:cNvPr id="6" name="Нижний колонтитул 4">
            <a:extLst>
              <a:ext uri="{FF2B5EF4-FFF2-40B4-BE49-F238E27FC236}">
                <a16:creationId xmlns:a16="http://schemas.microsoft.com/office/drawing/2014/main" id="{E0C844AA-678A-3A1E-072A-5FB3C49B96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>
            <a:extLst>
              <a:ext uri="{FF2B5EF4-FFF2-40B4-BE49-F238E27FC236}">
                <a16:creationId xmlns:a16="http://schemas.microsoft.com/office/drawing/2014/main" id="{3D36AE13-1CFD-6BD5-ACF6-AE7B35B9A7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45CC557-04DA-E54A-9181-0A878E197ED2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6749597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Заголовок 1">
            <a:extLst>
              <a:ext uri="{FF2B5EF4-FFF2-40B4-BE49-F238E27FC236}">
                <a16:creationId xmlns:a16="http://schemas.microsoft.com/office/drawing/2014/main" id="{30717E92-97E2-B3A3-48F2-2F4B6A8A09E2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8195" name="Текст 2">
            <a:extLst>
              <a:ext uri="{FF2B5EF4-FFF2-40B4-BE49-F238E27FC236}">
                <a16:creationId xmlns:a16="http://schemas.microsoft.com/office/drawing/2014/main" id="{02D2563D-FF84-E8D6-C2FC-D486B8BF17E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369483A7-F4E7-48FA-4864-DDD6C967BB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6627E88A-D6CA-C347-B745-75A2EB25E1B5}" type="datetimeFigureOut">
              <a:rPr lang="ru-RU"/>
              <a:pPr>
                <a:defRPr/>
              </a:pPr>
              <a:t>10.12.2024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50BD52FE-521D-F2E8-7068-8624013CF1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6E24F695-98CB-D9D8-9745-0616429D21B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82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1C5AFE47-B9D4-0140-9654-454097F4F09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954682C-8452-618C-18BF-2EE1B4799243}"/>
              </a:ext>
            </a:extLst>
          </p:cNvPr>
          <p:cNvSpPr txBox="1"/>
          <p:nvPr userDrawn="1"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0758488" y="6459220"/>
            <a:ext cx="1433512" cy="33528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ru-RU" sz="2200">
                <a:solidFill>
                  <a:srgbClr val="FF893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STRICTED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ptos Display" panose="020B000402020202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ptos Display" panose="020B000402020202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ptos Display" panose="020B000402020202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ptos Display" panose="020B000402020202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ptos Display" panose="020B000402020202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ptos Display" panose="020B000402020202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ptos Display" panose="020B000402020202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Aptos Display" panose="020B000402020202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image" Target="../media/image1.emf"/><Relationship Id="rId7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10" Type="http://schemas.openxmlformats.org/officeDocument/2006/relationships/image" Target="../media/image8.emf"/><Relationship Id="rId4" Type="http://schemas.openxmlformats.org/officeDocument/2006/relationships/image" Target="../media/image2.png"/><Relationship Id="rId9" Type="http://schemas.openxmlformats.org/officeDocument/2006/relationships/image" Target="../media/image7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7" Type="http://schemas.openxmlformats.org/officeDocument/2006/relationships/image" Target="../media/image29.emf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2.emf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emf"/><Relationship Id="rId5" Type="http://schemas.openxmlformats.org/officeDocument/2006/relationships/image" Target="../media/image22.emf"/><Relationship Id="rId4" Type="http://schemas.openxmlformats.org/officeDocument/2006/relationships/image" Target="../media/image1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emf"/><Relationship Id="rId4" Type="http://schemas.openxmlformats.org/officeDocument/2006/relationships/image" Target="../media/image31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1.emf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1.emf"/><Relationship Id="rId4" Type="http://schemas.openxmlformats.org/officeDocument/2006/relationships/image" Target="../media/image8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emf"/><Relationship Id="rId3" Type="http://schemas.openxmlformats.org/officeDocument/2006/relationships/tags" Target="../tags/tag4.xml"/><Relationship Id="rId7" Type="http://schemas.openxmlformats.org/officeDocument/2006/relationships/image" Target="../media/image9.jpeg"/><Relationship Id="rId12" Type="http://schemas.openxmlformats.org/officeDocument/2006/relationships/image" Target="../media/image14.emf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notesSlide" Target="../notesSlides/notesSlide2.xml"/><Relationship Id="rId11" Type="http://schemas.openxmlformats.org/officeDocument/2006/relationships/image" Target="../media/image13.emf"/><Relationship Id="rId5" Type="http://schemas.openxmlformats.org/officeDocument/2006/relationships/slideLayout" Target="../slideLayouts/slideLayout2.xml"/><Relationship Id="rId10" Type="http://schemas.openxmlformats.org/officeDocument/2006/relationships/image" Target="../media/image12.emf"/><Relationship Id="rId4" Type="http://schemas.openxmlformats.org/officeDocument/2006/relationships/tags" Target="../tags/tag5.xml"/><Relationship Id="rId9" Type="http://schemas.openxmlformats.org/officeDocument/2006/relationships/image" Target="../media/image1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4.emf"/><Relationship Id="rId4" Type="http://schemas.openxmlformats.org/officeDocument/2006/relationships/image" Target="../media/image1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7" Type="http://schemas.openxmlformats.org/officeDocument/2006/relationships/image" Target="../media/image24.emf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emf"/><Relationship Id="rId5" Type="http://schemas.openxmlformats.org/officeDocument/2006/relationships/image" Target="../media/image22.emf"/><Relationship Id="rId4" Type="http://schemas.openxmlformats.org/officeDocument/2006/relationships/image" Target="../media/image2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14.emf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5" name="Рисунок 49">
            <a:extLst>
              <a:ext uri="{FF2B5EF4-FFF2-40B4-BE49-F238E27FC236}">
                <a16:creationId xmlns:a16="http://schemas.microsoft.com/office/drawing/2014/main" id="{70FEB123-BF88-F377-D15A-63B3E3B082D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CEC29F0D-D4BC-4DB9-E8F7-DE427A49492B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 l="14600" r="34738"/>
          <a:stretch/>
        </p:blipFill>
        <p:spPr>
          <a:xfrm>
            <a:off x="7771754" y="0"/>
            <a:ext cx="4420246" cy="6858000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A794AD0D-E43E-CD2E-1551-CA73BA3BB0BE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l="12786" t="1855" r="25517" b="2043"/>
          <a:stretch/>
        </p:blipFill>
        <p:spPr>
          <a:xfrm>
            <a:off x="4054068" y="-6993"/>
            <a:ext cx="5245915" cy="6858001"/>
          </a:xfrm>
          <a:prstGeom prst="rect">
            <a:avLst/>
          </a:prstGeom>
        </p:spPr>
      </p:pic>
      <p:pic>
        <p:nvPicPr>
          <p:cNvPr id="2" name="Рисунок 1">
            <a:extLst>
              <a:ext uri="{FF2B5EF4-FFF2-40B4-BE49-F238E27FC236}">
                <a16:creationId xmlns:a16="http://schemas.microsoft.com/office/drawing/2014/main" id="{D830798D-2369-9003-3949-21B796457A91}"/>
              </a:ext>
            </a:extLst>
          </p:cNvPr>
          <p:cNvPicPr>
            <a:picLocks noChangeAspect="1"/>
          </p:cNvPicPr>
          <p:nvPr/>
        </p:nvPicPr>
        <p:blipFill>
          <a:blip r:embed="rId6"/>
          <a:srcRect l="21807" r="26152" b="4191"/>
          <a:stretch/>
        </p:blipFill>
        <p:spPr>
          <a:xfrm>
            <a:off x="7484374" y="7842250"/>
            <a:ext cx="4440196" cy="6860898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FA92CACC-2BB0-468F-317B-EF570C3100A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11951" r="27531"/>
          <a:stretch/>
        </p:blipFill>
        <p:spPr>
          <a:xfrm>
            <a:off x="3699733" y="7842614"/>
            <a:ext cx="5288692" cy="6868961"/>
          </a:xfrm>
          <a:prstGeom prst="rect">
            <a:avLst/>
          </a:prstGeom>
        </p:spPr>
      </p:pic>
      <p:pic>
        <p:nvPicPr>
          <p:cNvPr id="1027" name="Рисунок 6" descr="Изображение выглядит как текст, логотип, Графика, снимок экрана&#10;&#10;Автоматически созданное описание">
            <a:extLst>
              <a:ext uri="{FF2B5EF4-FFF2-40B4-BE49-F238E27FC236}">
                <a16:creationId xmlns:a16="http://schemas.microsoft.com/office/drawing/2014/main" id="{2579F967-321B-494C-5ADF-EB106778E8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988425" y="0"/>
            <a:ext cx="2273300" cy="2274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2">
            <a:extLst>
              <a:ext uri="{FF2B5EF4-FFF2-40B4-BE49-F238E27FC236}">
                <a16:creationId xmlns:a16="http://schemas.microsoft.com/office/drawing/2014/main" id="{6296F097-CA62-32C5-6E68-2F30BCC185F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black">
          <a:xfrm>
            <a:off x="701675" y="704850"/>
            <a:ext cx="720725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7" name="Прямая соединительная линия 36">
            <a:extLst>
              <a:ext uri="{FF2B5EF4-FFF2-40B4-BE49-F238E27FC236}">
                <a16:creationId xmlns:a16="http://schemas.microsoft.com/office/drawing/2014/main" id="{BE8EA278-BE98-738F-0844-D2A47752B9CA}"/>
              </a:ext>
            </a:extLst>
          </p:cNvPr>
          <p:cNvCxnSpPr/>
          <p:nvPr/>
        </p:nvCxnSpPr>
        <p:spPr>
          <a:xfrm flipV="1">
            <a:off x="3967163" y="-7938"/>
            <a:ext cx="1644650" cy="6865938"/>
          </a:xfrm>
          <a:prstGeom prst="line">
            <a:avLst/>
          </a:prstGeom>
          <a:ln>
            <a:solidFill>
              <a:srgbClr val="D30F4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0" name="TextBox 42">
            <a:extLst>
              <a:ext uri="{FF2B5EF4-FFF2-40B4-BE49-F238E27FC236}">
                <a16:creationId xmlns:a16="http://schemas.microsoft.com/office/drawing/2014/main" id="{A885FF85-9601-E352-9601-E98035B4DF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0238" y="2409825"/>
            <a:ext cx="3502025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6000" b="1" i="1">
                <a:solidFill>
                  <a:srgbClr val="9EC8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ербикс</a:t>
            </a:r>
            <a:endParaRPr lang="ru-RU" altLang="ru-RU" sz="6000">
              <a:solidFill>
                <a:srgbClr val="9EC83C"/>
              </a:solidFill>
            </a:endParaRPr>
          </a:p>
        </p:txBody>
      </p:sp>
      <p:sp>
        <p:nvSpPr>
          <p:cNvPr id="1031" name="TextBox 43">
            <a:extLst>
              <a:ext uri="{FF2B5EF4-FFF2-40B4-BE49-F238E27FC236}">
                <a16:creationId xmlns:a16="http://schemas.microsoft.com/office/drawing/2014/main" id="{C29F1AEC-90A1-F4B6-1721-21BD2B903DF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0875" y="3662363"/>
            <a:ext cx="3316288" cy="92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b="1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лективный гербицид для подавления широколистных сорняков</a:t>
            </a:r>
          </a:p>
        </p:txBody>
      </p:sp>
      <p:pic>
        <p:nvPicPr>
          <p:cNvPr id="1032" name="Рисунок 48">
            <a:extLst>
              <a:ext uri="{FF2B5EF4-FFF2-40B4-BE49-F238E27FC236}">
                <a16:creationId xmlns:a16="http://schemas.microsoft.com/office/drawing/2014/main" id="{B551226F-92DE-4451-045C-2F625FE03D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711200" y="5380038"/>
            <a:ext cx="1625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5B9DD91-946E-3425-4FC6-D5A5AEBF74F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262" y="6361113"/>
            <a:ext cx="636635" cy="242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71347FC8-277F-664C-9A52-D45A73C0EE9F}" type="slidenum">
              <a:rPr lang="ru-RU" altLang="ru-RU" sz="1800"/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0</a:t>
            </a:fld>
            <a:endParaRPr lang="ru-RU" altLang="ru-RU" sz="1800" dirty="0"/>
          </a:p>
        </p:txBody>
      </p:sp>
      <p:pic>
        <p:nvPicPr>
          <p:cNvPr id="6" name="Рисунок 8">
            <a:extLst>
              <a:ext uri="{FF2B5EF4-FFF2-40B4-BE49-F238E27FC236}">
                <a16:creationId xmlns:a16="http://schemas.microsoft.com/office/drawing/2014/main" id="{2B8A4F09-6048-9FA9-6F6F-6F27D7541D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8275" y="809625"/>
            <a:ext cx="1625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17">
            <a:extLst>
              <a:ext uri="{FF2B5EF4-FFF2-40B4-BE49-F238E27FC236}">
                <a16:creationId xmlns:a16="http://schemas.microsoft.com/office/drawing/2014/main" id="{3EEAB2B6-E002-7634-A740-7B3E56C80AF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14251" y="1181100"/>
            <a:ext cx="2270045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2400" b="1" dirty="0">
                <a:solidFill>
                  <a:srgbClr val="10384F"/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на картофеле</a:t>
            </a:r>
            <a:endParaRPr lang="ru-RU" altLang="ru-RU" sz="2400" dirty="0">
              <a:solidFill>
                <a:srgbClr val="10384F"/>
              </a:solidFill>
              <a:ea typeface="Helvetica Neue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8" name="TextBox 18">
            <a:extLst>
              <a:ext uri="{FF2B5EF4-FFF2-40B4-BE49-F238E27FC236}">
                <a16:creationId xmlns:a16="http://schemas.microsoft.com/office/drawing/2014/main" id="{E24FDBC9-9D41-CF5E-6E61-DBDE5A7BDC6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8438" y="706438"/>
            <a:ext cx="647343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3200" i="1" dirty="0">
                <a:solidFill>
                  <a:srgbClr val="10384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Регламент применения </a:t>
            </a:r>
            <a:r>
              <a:rPr lang="ru-RU" altLang="ru-RU" sz="3200" i="1" dirty="0" err="1">
                <a:solidFill>
                  <a:srgbClr val="10384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Гербикс</a:t>
            </a:r>
            <a:endParaRPr lang="ru-RU" altLang="ru-RU" sz="3200" i="1" dirty="0">
              <a:solidFill>
                <a:srgbClr val="10384F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</a:endParaRPr>
          </a:p>
        </p:txBody>
      </p:sp>
      <p:grpSp>
        <p:nvGrpSpPr>
          <p:cNvPr id="47" name="Группа 46">
            <a:extLst>
              <a:ext uri="{FF2B5EF4-FFF2-40B4-BE49-F238E27FC236}">
                <a16:creationId xmlns:a16="http://schemas.microsoft.com/office/drawing/2014/main" id="{B9B9AE89-2A44-6858-860D-77D0D724C5A0}"/>
              </a:ext>
            </a:extLst>
          </p:cNvPr>
          <p:cNvGrpSpPr/>
          <p:nvPr/>
        </p:nvGrpSpPr>
        <p:grpSpPr>
          <a:xfrm>
            <a:off x="1002622" y="1973139"/>
            <a:ext cx="10186756" cy="2145746"/>
            <a:chOff x="1336795" y="1973139"/>
            <a:chExt cx="8929269" cy="1880868"/>
          </a:xfrm>
        </p:grpSpPr>
        <p:pic>
          <p:nvPicPr>
            <p:cNvPr id="21" name="Рисунок 20">
              <a:extLst>
                <a:ext uri="{FF2B5EF4-FFF2-40B4-BE49-F238E27FC236}">
                  <a16:creationId xmlns:a16="http://schemas.microsoft.com/office/drawing/2014/main" id="{ABEFC07E-AD9C-2F2E-5ED4-827ECAA0133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335545" y="1973139"/>
              <a:ext cx="1930519" cy="1871402"/>
            </a:xfrm>
            <a:prstGeom prst="rect">
              <a:avLst/>
            </a:prstGeom>
          </p:spPr>
        </p:pic>
        <p:pic>
          <p:nvPicPr>
            <p:cNvPr id="22" name="Рисунок 21">
              <a:extLst>
                <a:ext uri="{FF2B5EF4-FFF2-40B4-BE49-F238E27FC236}">
                  <a16:creationId xmlns:a16="http://schemas.microsoft.com/office/drawing/2014/main" id="{40586FFC-1529-CE68-FE0B-B730CE4C7BA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438066" y="1973139"/>
              <a:ext cx="2897479" cy="1871402"/>
            </a:xfrm>
            <a:prstGeom prst="rect">
              <a:avLst/>
            </a:prstGeom>
          </p:spPr>
        </p:pic>
        <p:pic>
          <p:nvPicPr>
            <p:cNvPr id="23" name="Рисунок 22">
              <a:extLst>
                <a:ext uri="{FF2B5EF4-FFF2-40B4-BE49-F238E27FC236}">
                  <a16:creationId xmlns:a16="http://schemas.microsoft.com/office/drawing/2014/main" id="{6BCF83A1-5A47-5937-E200-6A760CF0835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336795" y="1982605"/>
              <a:ext cx="4164423" cy="1871402"/>
            </a:xfrm>
            <a:prstGeom prst="rect">
              <a:avLst/>
            </a:prstGeom>
          </p:spPr>
        </p:pic>
      </p:grpSp>
      <p:grpSp>
        <p:nvGrpSpPr>
          <p:cNvPr id="49" name="Группа 48">
            <a:extLst>
              <a:ext uri="{FF2B5EF4-FFF2-40B4-BE49-F238E27FC236}">
                <a16:creationId xmlns:a16="http://schemas.microsoft.com/office/drawing/2014/main" id="{1CC6DE4C-357F-613E-C302-03AAA5D909D4}"/>
              </a:ext>
            </a:extLst>
          </p:cNvPr>
          <p:cNvGrpSpPr/>
          <p:nvPr/>
        </p:nvGrpSpPr>
        <p:grpSpPr>
          <a:xfrm>
            <a:off x="2518681" y="4136923"/>
            <a:ext cx="8670697" cy="507831"/>
            <a:chOff x="2518681" y="4116298"/>
            <a:chExt cx="8670697" cy="507831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0E8E138E-4B70-FAD3-B859-B3183B5DCAB1}"/>
                </a:ext>
              </a:extLst>
            </p:cNvPr>
            <p:cNvSpPr txBox="1"/>
            <p:nvPr/>
          </p:nvSpPr>
          <p:spPr>
            <a:xfrm>
              <a:off x="2518681" y="4116298"/>
              <a:ext cx="998202" cy="2308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Прорастание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3EF25A99-9C2C-9592-7122-457BD5BB1B5F}"/>
                </a:ext>
              </a:extLst>
            </p:cNvPr>
            <p:cNvSpPr txBox="1"/>
            <p:nvPr/>
          </p:nvSpPr>
          <p:spPr>
            <a:xfrm>
              <a:off x="3776431" y="4116298"/>
              <a:ext cx="701270" cy="2308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Всходы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66C12DA2-37E3-35AE-DEFA-E2A6DD441533}"/>
                </a:ext>
              </a:extLst>
            </p:cNvPr>
            <p:cNvSpPr txBox="1"/>
            <p:nvPr/>
          </p:nvSpPr>
          <p:spPr>
            <a:xfrm>
              <a:off x="4696214" y="4116298"/>
              <a:ext cx="998202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Активный</a:t>
              </a:r>
              <a:b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рост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5FEBD52F-4454-9049-E211-83438697E500}"/>
                </a:ext>
              </a:extLst>
            </p:cNvPr>
            <p:cNvSpPr txBox="1"/>
            <p:nvPr/>
          </p:nvSpPr>
          <p:spPr>
            <a:xfrm>
              <a:off x="5740776" y="4116298"/>
              <a:ext cx="998202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Смыкание</a:t>
              </a:r>
              <a:b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рядков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A9653154-925C-B256-8C53-70F684B77D83}"/>
                </a:ext>
              </a:extLst>
            </p:cNvPr>
            <p:cNvSpPr txBox="1"/>
            <p:nvPr/>
          </p:nvSpPr>
          <p:spPr>
            <a:xfrm>
              <a:off x="6833845" y="4116298"/>
              <a:ext cx="998202" cy="2308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Бутонизация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85F5C987-2522-991A-7D38-85749BEBEF62}"/>
                </a:ext>
              </a:extLst>
            </p:cNvPr>
            <p:cNvSpPr txBox="1"/>
            <p:nvPr/>
          </p:nvSpPr>
          <p:spPr>
            <a:xfrm>
              <a:off x="7865730" y="4116298"/>
              <a:ext cx="1165010" cy="507831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Цветение</a:t>
              </a:r>
              <a:b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и образование</a:t>
              </a:r>
              <a:b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клубней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8F189FF-2246-B9A4-BFF2-5EC156EE1B50}"/>
                </a:ext>
              </a:extLst>
            </p:cNvPr>
            <p:cNvSpPr txBox="1"/>
            <p:nvPr/>
          </p:nvSpPr>
          <p:spPr>
            <a:xfrm>
              <a:off x="8931299" y="4116298"/>
              <a:ext cx="1165010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Созревание</a:t>
              </a:r>
              <a:b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клубней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03BD152C-66AC-7242-5BEA-55D7308EE161}"/>
                </a:ext>
              </a:extLst>
            </p:cNvPr>
            <p:cNvSpPr txBox="1"/>
            <p:nvPr/>
          </p:nvSpPr>
          <p:spPr>
            <a:xfrm>
              <a:off x="10024368" y="4116298"/>
              <a:ext cx="1165010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Увядание</a:t>
              </a:r>
              <a:b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ботвы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D9BC4FE9-09B3-3555-7E60-5AA7C1B828D1}"/>
              </a:ext>
            </a:extLst>
          </p:cNvPr>
          <p:cNvGrpSpPr/>
          <p:nvPr/>
        </p:nvGrpSpPr>
        <p:grpSpPr>
          <a:xfrm>
            <a:off x="1301802" y="2096767"/>
            <a:ext cx="8780735" cy="2505123"/>
            <a:chOff x="1301802" y="2096767"/>
            <a:chExt cx="8780735" cy="1965339"/>
          </a:xfrm>
        </p:grpSpPr>
        <p:cxnSp>
          <p:nvCxnSpPr>
            <p:cNvPr id="38" name="Прямая соединительная линия 37">
              <a:extLst>
                <a:ext uri="{FF2B5EF4-FFF2-40B4-BE49-F238E27FC236}">
                  <a16:creationId xmlns:a16="http://schemas.microsoft.com/office/drawing/2014/main" id="{DA56E62F-2700-1CF9-DC9A-5EAE7640F93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446420" y="2096767"/>
              <a:ext cx="0" cy="1965339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Прямая соединительная линия 38">
              <a:extLst>
                <a:ext uri="{FF2B5EF4-FFF2-40B4-BE49-F238E27FC236}">
                  <a16:creationId xmlns:a16="http://schemas.microsoft.com/office/drawing/2014/main" id="{712ADC9F-0CBB-4CD1-2F4B-84790740798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801988" y="2096767"/>
              <a:ext cx="0" cy="1965339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Прямая соединительная линия 39">
              <a:extLst>
                <a:ext uri="{FF2B5EF4-FFF2-40B4-BE49-F238E27FC236}">
                  <a16:creationId xmlns:a16="http://schemas.microsoft.com/office/drawing/2014/main" id="{B9592BDF-B799-67A7-E5A4-1F4C2024EC4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01802" y="2096767"/>
              <a:ext cx="0" cy="1965339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Прямая соединительная линия 40">
              <a:extLst>
                <a:ext uri="{FF2B5EF4-FFF2-40B4-BE49-F238E27FC236}">
                  <a16:creationId xmlns:a16="http://schemas.microsoft.com/office/drawing/2014/main" id="{FE66DCEE-6969-1F81-AF56-06AB8DCEEC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618633" y="2096767"/>
              <a:ext cx="0" cy="1965339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Прямая соединительная линия 41">
              <a:extLst>
                <a:ext uri="{FF2B5EF4-FFF2-40B4-BE49-F238E27FC236}">
                  <a16:creationId xmlns:a16="http://schemas.microsoft.com/office/drawing/2014/main" id="{2987D937-AF7D-1ACA-4DC8-9575C3FBC6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575740" y="2096767"/>
              <a:ext cx="0" cy="1965339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Прямая соединительная линия 42">
              <a:extLst>
                <a:ext uri="{FF2B5EF4-FFF2-40B4-BE49-F238E27FC236}">
                  <a16:creationId xmlns:a16="http://schemas.microsoft.com/office/drawing/2014/main" id="{80084682-89AC-9B49-14AB-24093C776F2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753510" y="2096767"/>
              <a:ext cx="0" cy="1965339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4" name="Прямая соединительная линия 43">
              <a:extLst>
                <a:ext uri="{FF2B5EF4-FFF2-40B4-BE49-F238E27FC236}">
                  <a16:creationId xmlns:a16="http://schemas.microsoft.com/office/drawing/2014/main" id="{6476822F-183D-616E-62D7-2547FBA7734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975605" y="2096767"/>
              <a:ext cx="0" cy="1965339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Прямая соединительная линия 44">
              <a:extLst>
                <a:ext uri="{FF2B5EF4-FFF2-40B4-BE49-F238E27FC236}">
                  <a16:creationId xmlns:a16="http://schemas.microsoft.com/office/drawing/2014/main" id="{D3E967A6-BDCF-E62D-3CB9-E12CA318752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901546" y="2096767"/>
              <a:ext cx="0" cy="1965339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6" name="Прямая соединительная линия 45">
              <a:extLst>
                <a:ext uri="{FF2B5EF4-FFF2-40B4-BE49-F238E27FC236}">
                  <a16:creationId xmlns:a16="http://schemas.microsoft.com/office/drawing/2014/main" id="{1ED9C356-0D19-6D1E-34A1-3D0198F4C87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082537" y="2096767"/>
              <a:ext cx="0" cy="1965339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DF653CD7-C323-6578-C0C6-A4373764732F}"/>
              </a:ext>
            </a:extLst>
          </p:cNvPr>
          <p:cNvGrpSpPr/>
          <p:nvPr/>
        </p:nvGrpSpPr>
        <p:grpSpPr>
          <a:xfrm>
            <a:off x="4950584" y="5298585"/>
            <a:ext cx="2209114" cy="843363"/>
            <a:chOff x="3472351" y="5308199"/>
            <a:chExt cx="2209114" cy="843363"/>
          </a:xfrm>
        </p:grpSpPr>
        <p:pic>
          <p:nvPicPr>
            <p:cNvPr id="51" name="Рисунок 50">
              <a:extLst>
                <a:ext uri="{FF2B5EF4-FFF2-40B4-BE49-F238E27FC236}">
                  <a16:creationId xmlns:a16="http://schemas.microsoft.com/office/drawing/2014/main" id="{021F6DC6-5486-D8C8-2FBA-678BC929630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3472351" y="5308199"/>
              <a:ext cx="843363" cy="843363"/>
            </a:xfrm>
            <a:prstGeom prst="rect">
              <a:avLst/>
            </a:prstGeom>
          </p:spPr>
        </p:pic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FAAFA7D1-BCA8-4163-C33C-E59A2561A7B0}"/>
                </a:ext>
              </a:extLst>
            </p:cNvPr>
            <p:cNvSpPr txBox="1"/>
            <p:nvPr/>
          </p:nvSpPr>
          <p:spPr>
            <a:xfrm>
              <a:off x="4316885" y="5499331"/>
              <a:ext cx="33374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endParaRPr lang="ru-RU" sz="2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7" name="Рисунок 56">
              <a:extLst>
                <a:ext uri="{FF2B5EF4-FFF2-40B4-BE49-F238E27FC236}">
                  <a16:creationId xmlns:a16="http://schemas.microsoft.com/office/drawing/2014/main" id="{55A06C55-4FEE-A8F3-FDFD-F8286B2D37A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4639687" y="5314172"/>
              <a:ext cx="837390" cy="837390"/>
            </a:xfrm>
            <a:prstGeom prst="rect">
              <a:avLst/>
            </a:prstGeom>
          </p:spPr>
        </p:pic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FF994FE5-BD33-0FF8-83EA-A0E04FD12C41}"/>
                </a:ext>
              </a:extLst>
            </p:cNvPr>
            <p:cNvSpPr txBox="1"/>
            <p:nvPr/>
          </p:nvSpPr>
          <p:spPr>
            <a:xfrm>
              <a:off x="5426267" y="5510136"/>
              <a:ext cx="25519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000" dirty="0">
                  <a:latin typeface="Arial" panose="020B0604020202020204" pitchFamily="34" charset="0"/>
                  <a:cs typeface="Arial" panose="020B0604020202020204" pitchFamily="34" charset="0"/>
                </a:rPr>
                <a:t>;</a:t>
              </a:r>
            </a:p>
          </p:txBody>
        </p:sp>
      </p:grpSp>
      <p:sp>
        <p:nvSpPr>
          <p:cNvPr id="64" name="TextBox 63">
            <a:extLst>
              <a:ext uri="{FF2B5EF4-FFF2-40B4-BE49-F238E27FC236}">
                <a16:creationId xmlns:a16="http://schemas.microsoft.com/office/drawing/2014/main" id="{A74BC133-7E1F-57C8-2E9A-1DB6BA886CC2}"/>
              </a:ext>
            </a:extLst>
          </p:cNvPr>
          <p:cNvSpPr txBox="1"/>
          <p:nvPr/>
        </p:nvSpPr>
        <p:spPr bwMode="gray">
          <a:xfrm>
            <a:off x="1313105" y="1844646"/>
            <a:ext cx="3305523" cy="8248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80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До высоты</a:t>
            </a:r>
            <a:br>
              <a:rPr kumimoji="0" lang="ru-RU" sz="14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</a:br>
            <a:r>
              <a:rPr kumimoji="0" lang="ru-RU" sz="14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картофеля 10 — 15 см</a:t>
            </a:r>
            <a:endParaRPr lang="ru-RU" sz="1400" b="1" i="1" kern="0" dirty="0">
              <a:latin typeface="Arial"/>
              <a:cs typeface="Arial"/>
            </a:endParaRPr>
          </a:p>
          <a:p>
            <a:pPr marL="0" marR="0" lvl="0" indent="0" algn="ctr" defTabSz="12180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ctr" defTabSz="12180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1,2 л/га</a:t>
            </a:r>
          </a:p>
        </p:txBody>
      </p:sp>
      <p:cxnSp>
        <p:nvCxnSpPr>
          <p:cNvPr id="65" name="Прямая соединительная линия 64">
            <a:extLst>
              <a:ext uri="{FF2B5EF4-FFF2-40B4-BE49-F238E27FC236}">
                <a16:creationId xmlns:a16="http://schemas.microsoft.com/office/drawing/2014/main" id="{5984064B-B99B-A170-2195-9C2125032231}"/>
              </a:ext>
            </a:extLst>
          </p:cNvPr>
          <p:cNvCxnSpPr>
            <a:cxnSpLocks/>
          </p:cNvCxnSpPr>
          <p:nvPr/>
        </p:nvCxnSpPr>
        <p:spPr>
          <a:xfrm flipV="1">
            <a:off x="1301802" y="1849426"/>
            <a:ext cx="0" cy="221268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Прямая соединительная линия 66">
            <a:extLst>
              <a:ext uri="{FF2B5EF4-FFF2-40B4-BE49-F238E27FC236}">
                <a16:creationId xmlns:a16="http://schemas.microsoft.com/office/drawing/2014/main" id="{B7224BF4-27AE-357A-C8E7-82D02B84E748}"/>
              </a:ext>
            </a:extLst>
          </p:cNvPr>
          <p:cNvCxnSpPr>
            <a:cxnSpLocks/>
          </p:cNvCxnSpPr>
          <p:nvPr/>
        </p:nvCxnSpPr>
        <p:spPr>
          <a:xfrm flipV="1">
            <a:off x="4608415" y="1849426"/>
            <a:ext cx="0" cy="221268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68CE2990-8FAB-4B3D-2E08-2CCDBAC10180}"/>
              </a:ext>
            </a:extLst>
          </p:cNvPr>
          <p:cNvSpPr txBox="1"/>
          <p:nvPr/>
        </p:nvSpPr>
        <p:spPr>
          <a:xfrm>
            <a:off x="3080078" y="6274615"/>
            <a:ext cx="60318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В каждом конкретном случае необходима проверка совместимости компонентов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ED3543D-8F6C-AF0A-3C33-63AD014CBFE5}"/>
              </a:ext>
            </a:extLst>
          </p:cNvPr>
          <p:cNvSpPr txBox="1"/>
          <p:nvPr/>
        </p:nvSpPr>
        <p:spPr>
          <a:xfrm>
            <a:off x="455977" y="4827364"/>
            <a:ext cx="111983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1600" b="1" dirty="0">
                <a:solidFill>
                  <a:srgbClr val="66B51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лучае необходимости, возможны баковые смеси:</a:t>
            </a:r>
            <a:endParaRPr lang="ru-RU" altLang="ru-RU" sz="1600" dirty="0"/>
          </a:p>
        </p:txBody>
      </p:sp>
    </p:spTree>
    <p:extLst>
      <p:ext uri="{BB962C8B-B14F-4D97-AF65-F5344CB8AC3E}">
        <p14:creationId xmlns:p14="http://schemas.microsoft.com/office/powerpoint/2010/main" val="28622382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FB0ED95E-1FA7-DBC7-71A9-F1ACA0A6AD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262" y="6361113"/>
            <a:ext cx="636635" cy="242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71347FC8-277F-664C-9A52-D45A73C0EE9F}" type="slidenum">
              <a:rPr lang="ru-RU" altLang="ru-RU" sz="1800"/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1</a:t>
            </a:fld>
            <a:endParaRPr lang="ru-RU" altLang="ru-RU" sz="1800" dirty="0"/>
          </a:p>
        </p:txBody>
      </p:sp>
      <p:pic>
        <p:nvPicPr>
          <p:cNvPr id="13" name="Рисунок 12" descr="Изображение выглядит как линия, искусство&#10;&#10;Автоматически созданное описание">
            <a:extLst>
              <a:ext uri="{FF2B5EF4-FFF2-40B4-BE49-F238E27FC236}">
                <a16:creationId xmlns:a16="http://schemas.microsoft.com/office/drawing/2014/main" id="{EC58B3ED-0B25-3F18-420E-ADF563A9F1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2121" y="1562272"/>
            <a:ext cx="7219012" cy="2688110"/>
          </a:xfrm>
          <a:prstGeom prst="rect">
            <a:avLst/>
          </a:prstGeom>
        </p:spPr>
      </p:pic>
      <p:pic>
        <p:nvPicPr>
          <p:cNvPr id="6" name="Рисунок 8">
            <a:extLst>
              <a:ext uri="{FF2B5EF4-FFF2-40B4-BE49-F238E27FC236}">
                <a16:creationId xmlns:a16="http://schemas.microsoft.com/office/drawing/2014/main" id="{AF71C041-1F45-8F7C-7D3B-26836ADE2A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8275" y="809625"/>
            <a:ext cx="1625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17">
            <a:extLst>
              <a:ext uri="{FF2B5EF4-FFF2-40B4-BE49-F238E27FC236}">
                <a16:creationId xmlns:a16="http://schemas.microsoft.com/office/drawing/2014/main" id="{521F8F59-8C5F-178D-FC77-0842B1161E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012431" y="1181100"/>
            <a:ext cx="288925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2400" b="1" dirty="0">
                <a:solidFill>
                  <a:srgbClr val="10384F"/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на льне-долгунце</a:t>
            </a:r>
            <a:endParaRPr lang="ru-RU" altLang="ru-RU" sz="2400" dirty="0">
              <a:solidFill>
                <a:srgbClr val="10384F"/>
              </a:solidFill>
              <a:ea typeface="Helvetica Neue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8" name="TextBox 18">
            <a:extLst>
              <a:ext uri="{FF2B5EF4-FFF2-40B4-BE49-F238E27FC236}">
                <a16:creationId xmlns:a16="http://schemas.microsoft.com/office/drawing/2014/main" id="{09F927A2-56AA-B70F-A597-7185034CE9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8438" y="706438"/>
            <a:ext cx="647343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3200" i="1" dirty="0">
                <a:solidFill>
                  <a:srgbClr val="10384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Регламент применения </a:t>
            </a:r>
            <a:r>
              <a:rPr lang="ru-RU" altLang="ru-RU" sz="3200" i="1" dirty="0" err="1">
                <a:solidFill>
                  <a:srgbClr val="10384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Гербикс</a:t>
            </a:r>
            <a:endParaRPr lang="ru-RU" altLang="ru-RU" sz="3200" i="1" dirty="0">
              <a:solidFill>
                <a:srgbClr val="10384F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5FFB0FC7-BADB-87EB-CFEC-27958E9FFCD2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4" r="41972" b="75"/>
          <a:stretch/>
        </p:blipFill>
        <p:spPr bwMode="auto">
          <a:xfrm>
            <a:off x="7484681" y="0"/>
            <a:ext cx="4707319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8C984DD-3577-4845-466B-B26B73DFC19A}"/>
              </a:ext>
            </a:extLst>
          </p:cNvPr>
          <p:cNvSpPr txBox="1"/>
          <p:nvPr/>
        </p:nvSpPr>
        <p:spPr>
          <a:xfrm>
            <a:off x="892120" y="4300890"/>
            <a:ext cx="1101217" cy="2308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ru-RU" sz="900" b="1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Всходы</a:t>
            </a:r>
            <a:endParaRPr lang="ru-RU" sz="900" b="1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955DC0A-6711-864B-E771-9E74479D82AF}"/>
              </a:ext>
            </a:extLst>
          </p:cNvPr>
          <p:cNvSpPr txBox="1"/>
          <p:nvPr/>
        </p:nvSpPr>
        <p:spPr>
          <a:xfrm>
            <a:off x="2103988" y="4300890"/>
            <a:ext cx="998202" cy="3693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ru-RU" sz="900" b="1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Фаза</a:t>
            </a:r>
            <a:br>
              <a:rPr lang="ru-RU" sz="900" b="1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900" b="1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«Ёлочка»</a:t>
            </a:r>
            <a:endParaRPr lang="ru-RU" sz="900" b="1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AA000B3-886D-7F93-F367-C31440BBA65D}"/>
              </a:ext>
            </a:extLst>
          </p:cNvPr>
          <p:cNvSpPr txBox="1"/>
          <p:nvPr/>
        </p:nvSpPr>
        <p:spPr>
          <a:xfrm>
            <a:off x="3259754" y="4300890"/>
            <a:ext cx="998202" cy="2308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ru-RU" sz="900" b="1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Бутонизация</a:t>
            </a:r>
            <a:endParaRPr lang="ru-RU" sz="900" b="1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DA61C7A-B90C-EAB9-2FE9-C3BCD26DE92C}"/>
              </a:ext>
            </a:extLst>
          </p:cNvPr>
          <p:cNvSpPr txBox="1"/>
          <p:nvPr/>
        </p:nvSpPr>
        <p:spPr>
          <a:xfrm>
            <a:off x="4401101" y="4300890"/>
            <a:ext cx="998202" cy="2308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ru-RU" sz="900" b="1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Цветение</a:t>
            </a:r>
            <a:endParaRPr lang="ru-RU" sz="900" b="1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9FC5806-22D5-0D42-0659-395DEFA377CB}"/>
              </a:ext>
            </a:extLst>
          </p:cNvPr>
          <p:cNvSpPr txBox="1"/>
          <p:nvPr/>
        </p:nvSpPr>
        <p:spPr>
          <a:xfrm>
            <a:off x="6237700" y="4300890"/>
            <a:ext cx="998202" cy="230832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/>
            <a:r>
              <a:rPr lang="ru-RU" sz="900" b="1" i="1" dirty="0">
                <a:effectLst/>
                <a:latin typeface="Arial" panose="020B0604020202020204" pitchFamily="34" charset="0"/>
                <a:cs typeface="Arial" panose="020B0604020202020204" pitchFamily="34" charset="0"/>
              </a:rPr>
              <a:t>Созревание</a:t>
            </a:r>
            <a:endParaRPr lang="ru-RU" sz="900" b="1" dirty="0">
              <a:effectLst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7856B4DE-F84E-65E6-E262-86ABF2E091A8}"/>
              </a:ext>
            </a:extLst>
          </p:cNvPr>
          <p:cNvGrpSpPr/>
          <p:nvPr/>
        </p:nvGrpSpPr>
        <p:grpSpPr>
          <a:xfrm>
            <a:off x="1993339" y="2276805"/>
            <a:ext cx="3561774" cy="2459321"/>
            <a:chOff x="1993339" y="2276805"/>
            <a:chExt cx="3561774" cy="1973577"/>
          </a:xfrm>
        </p:grpSpPr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id="{AA00A8D4-571D-868E-A04F-99AC41BA37C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993339" y="2276805"/>
              <a:ext cx="0" cy="1965339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>
              <a:extLst>
                <a:ext uri="{FF2B5EF4-FFF2-40B4-BE49-F238E27FC236}">
                  <a16:creationId xmlns:a16="http://schemas.microsoft.com/office/drawing/2014/main" id="{DFB57219-F1C2-02BC-50F3-11B05B9C980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243580" y="2285043"/>
              <a:ext cx="0" cy="1965339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>
              <a:extLst>
                <a:ext uri="{FF2B5EF4-FFF2-40B4-BE49-F238E27FC236}">
                  <a16:creationId xmlns:a16="http://schemas.microsoft.com/office/drawing/2014/main" id="{10CBD218-B7C7-BE03-AB07-00BDC8C75F1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274130" y="2276805"/>
              <a:ext cx="0" cy="1965339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C116150E-EA92-D8F8-C0AE-0BAFE5FF7B1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555113" y="2276805"/>
              <a:ext cx="0" cy="1965339"/>
            </a:xfrm>
            <a:prstGeom prst="line">
              <a:avLst/>
            </a:prstGeom>
            <a:ln w="635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4" name="TextBox 23">
            <a:extLst>
              <a:ext uri="{FF2B5EF4-FFF2-40B4-BE49-F238E27FC236}">
                <a16:creationId xmlns:a16="http://schemas.microsoft.com/office/drawing/2014/main" id="{5B337AF0-E62E-9E6F-140D-7B7DA3504E26}"/>
              </a:ext>
            </a:extLst>
          </p:cNvPr>
          <p:cNvSpPr txBox="1"/>
          <p:nvPr/>
        </p:nvSpPr>
        <p:spPr bwMode="gray">
          <a:xfrm>
            <a:off x="1993336" y="2457292"/>
            <a:ext cx="1250244" cy="2754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80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i="1" kern="0" dirty="0">
                <a:latin typeface="Arial"/>
                <a:cs typeface="Arial"/>
              </a:rPr>
              <a:t>0</a:t>
            </a:r>
            <a:r>
              <a:rPr kumimoji="0" lang="ru-RU" sz="14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,8 — 1 л/га</a:t>
            </a:r>
          </a:p>
        </p:txBody>
      </p: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04D20B7F-A7E7-318B-F35B-CF732C895616}"/>
              </a:ext>
            </a:extLst>
          </p:cNvPr>
          <p:cNvCxnSpPr>
            <a:cxnSpLocks/>
          </p:cNvCxnSpPr>
          <p:nvPr/>
        </p:nvCxnSpPr>
        <p:spPr>
          <a:xfrm flipV="1">
            <a:off x="1993337" y="2037702"/>
            <a:ext cx="0" cy="221268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740291F0-2A07-1EF2-C2E6-0966BCEA1FB9}"/>
              </a:ext>
            </a:extLst>
          </p:cNvPr>
          <p:cNvCxnSpPr>
            <a:cxnSpLocks/>
          </p:cNvCxnSpPr>
          <p:nvPr/>
        </p:nvCxnSpPr>
        <p:spPr>
          <a:xfrm flipV="1">
            <a:off x="3243580" y="2028506"/>
            <a:ext cx="0" cy="2212680"/>
          </a:xfrm>
          <a:prstGeom prst="line">
            <a:avLst/>
          </a:prstGeom>
          <a:ln w="19050">
            <a:solidFill>
              <a:srgbClr val="00B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95368CA7-6BA0-0687-7DD6-A4D6034CFFD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35925" y="5306890"/>
            <a:ext cx="844729" cy="844729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8B156623-1E88-585F-8C30-98B5E3CE6B7C}"/>
              </a:ext>
            </a:extLst>
          </p:cNvPr>
          <p:cNvSpPr txBox="1"/>
          <p:nvPr/>
        </p:nvSpPr>
        <p:spPr>
          <a:xfrm>
            <a:off x="4705157" y="5563460"/>
            <a:ext cx="33374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+</a:t>
            </a:r>
            <a:endParaRPr lang="ru-RU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7" name="Рисунок 36">
            <a:extLst>
              <a:ext uri="{FF2B5EF4-FFF2-40B4-BE49-F238E27FC236}">
                <a16:creationId xmlns:a16="http://schemas.microsoft.com/office/drawing/2014/main" id="{BE7279C4-001C-2499-86F5-901DE27E9C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67702" y="5323060"/>
            <a:ext cx="844729" cy="844729"/>
          </a:xfrm>
          <a:prstGeom prst="rect">
            <a:avLst/>
          </a:prstGeom>
        </p:spPr>
      </p:pic>
      <p:sp>
        <p:nvSpPr>
          <p:cNvPr id="38" name="Straight Connector 16">
            <a:extLst>
              <a:ext uri="{FF2B5EF4-FFF2-40B4-BE49-F238E27FC236}">
                <a16:creationId xmlns:a16="http://schemas.microsoft.com/office/drawing/2014/main" id="{2615C38C-7559-379A-C3D1-A85BD02DB3CB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8421840" y="-9525"/>
            <a:ext cx="2505075" cy="6877050"/>
          </a:xfrm>
          <a:prstGeom prst="line">
            <a:avLst/>
          </a:prstGeom>
          <a:noFill/>
          <a:ln w="15875">
            <a:solidFill>
              <a:srgbClr val="D30F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8" tIns="45718" rIns="45718" bIns="45718"/>
          <a:lstStyle/>
          <a:p>
            <a:endParaRPr lang="ru-RU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78C1CFA-9F51-1D68-F626-12D9820211E1}"/>
              </a:ext>
            </a:extLst>
          </p:cNvPr>
          <p:cNvSpPr txBox="1"/>
          <p:nvPr/>
        </p:nvSpPr>
        <p:spPr>
          <a:xfrm>
            <a:off x="892120" y="6274615"/>
            <a:ext cx="72189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В каждом конкретном случае необходима проверка совместимости компонентов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DCDEA8CA-0566-E67C-BD92-3795E759A50B}"/>
              </a:ext>
            </a:extLst>
          </p:cNvPr>
          <p:cNvSpPr txBox="1"/>
          <p:nvPr/>
        </p:nvSpPr>
        <p:spPr>
          <a:xfrm>
            <a:off x="831897" y="4827364"/>
            <a:ext cx="72792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1600" b="1" dirty="0">
                <a:solidFill>
                  <a:srgbClr val="66B51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лучае необходимости, возможны баковые смеси:</a:t>
            </a:r>
            <a:endParaRPr lang="ru-RU" altLang="ru-RU" sz="1600" dirty="0"/>
          </a:p>
        </p:txBody>
      </p:sp>
    </p:spTree>
    <p:extLst>
      <p:ext uri="{BB962C8B-B14F-4D97-AF65-F5344CB8AC3E}">
        <p14:creationId xmlns:p14="http://schemas.microsoft.com/office/powerpoint/2010/main" val="159500388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9">
            <a:extLst>
              <a:ext uri="{FF2B5EF4-FFF2-40B4-BE49-F238E27FC236}">
                <a16:creationId xmlns:a16="http://schemas.microsoft.com/office/drawing/2014/main" id="{CB3EF465-A24D-311C-C900-CECA0E3DCA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>
            <a:extLst>
              <a:ext uri="{FF2B5EF4-FFF2-40B4-BE49-F238E27FC236}">
                <a16:creationId xmlns:a16="http://schemas.microsoft.com/office/drawing/2014/main" id="{E1C01F86-2E55-57F8-2753-6B8D1BB5B4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228600" y="258763"/>
            <a:ext cx="395288" cy="3952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oliennummernplatzhalter 4">
            <a:extLst>
              <a:ext uri="{FF2B5EF4-FFF2-40B4-BE49-F238E27FC236}">
                <a16:creationId xmlns:a16="http://schemas.microsoft.com/office/drawing/2014/main" id="{2956D987-9BD7-B22E-763D-F5BFA12A9E1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263" y="6361113"/>
            <a:ext cx="785040" cy="311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6F9507C2-E9BB-3A4A-8CDA-0F062F2B29DA}" type="slidenum">
              <a:rPr lang="ru-RU" altLang="ru-RU" sz="1800">
                <a:solidFill>
                  <a:srgbClr val="FFFFFF"/>
                </a:solidFill>
              </a:rPr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12</a:t>
            </a:fld>
            <a:endParaRPr lang="ru-RU" altLang="ru-RU" sz="1800" dirty="0">
              <a:solidFill>
                <a:srgbClr val="FFFFFF"/>
              </a:solidFill>
            </a:endParaRPr>
          </a:p>
        </p:txBody>
      </p:sp>
      <p:pic>
        <p:nvPicPr>
          <p:cNvPr id="7" name="Рисунок 8">
            <a:extLst>
              <a:ext uri="{FF2B5EF4-FFF2-40B4-BE49-F238E27FC236}">
                <a16:creationId xmlns:a16="http://schemas.microsoft.com/office/drawing/2014/main" id="{2FB44737-BCE2-CFDE-30A3-6BCF4131E2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8275" y="809625"/>
            <a:ext cx="1625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Box 18">
            <a:extLst>
              <a:ext uri="{FF2B5EF4-FFF2-40B4-BE49-F238E27FC236}">
                <a16:creationId xmlns:a16="http://schemas.microsoft.com/office/drawing/2014/main" id="{AF714837-2062-9C79-E667-8C5D3860AC4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8438" y="706438"/>
            <a:ext cx="647343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3200" i="1" dirty="0">
                <a:solidFill>
                  <a:schemeClr val="bg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Регламент применения</a:t>
            </a:r>
            <a:r>
              <a:rPr lang="en-US" altLang="ru-RU" sz="3200" i="1" dirty="0">
                <a:solidFill>
                  <a:schemeClr val="bg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 </a:t>
            </a:r>
            <a:r>
              <a:rPr lang="ru-RU" altLang="ru-RU" sz="3200" i="1" dirty="0" err="1">
                <a:solidFill>
                  <a:schemeClr val="bg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Гербикс</a:t>
            </a:r>
            <a:endParaRPr lang="ru-RU" altLang="ru-RU" sz="3200" i="1" dirty="0">
              <a:solidFill>
                <a:schemeClr val="bg1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</a:endParaRPr>
          </a:p>
        </p:txBody>
      </p:sp>
      <p:graphicFrame>
        <p:nvGraphicFramePr>
          <p:cNvPr id="9" name="Таблица 8">
            <a:extLst>
              <a:ext uri="{FF2B5EF4-FFF2-40B4-BE49-F238E27FC236}">
                <a16:creationId xmlns:a16="http://schemas.microsoft.com/office/drawing/2014/main" id="{D3305C0F-7560-8BA9-5044-9D07E250EE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88863189"/>
              </p:ext>
            </p:extLst>
          </p:nvPr>
        </p:nvGraphicFramePr>
        <p:xfrm>
          <a:off x="696067" y="1508702"/>
          <a:ext cx="10800000" cy="4640136"/>
        </p:xfrm>
        <a:graphic>
          <a:graphicData uri="http://schemas.openxmlformats.org/drawingml/2006/table">
            <a:tbl>
              <a:tblPr firstRow="1">
                <a:tableStyleId>{1FECB4D8-DB02-4DC6-A0A2-4F2EBAE1DC90}</a:tableStyleId>
              </a:tblPr>
              <a:tblGrid>
                <a:gridCol w="108576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824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155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621542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9477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970363">
                <a:tc>
                  <a:txBody>
                    <a:bodyPr/>
                    <a:lstStyle/>
                    <a:p>
                      <a:pPr marL="47625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рма применения препарата, л/га</a:t>
                      </a:r>
                    </a:p>
                  </a:txBody>
                  <a:tcPr marL="40233" marR="40233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7625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льтура, обрабатываемый объект</a:t>
                      </a:r>
                    </a:p>
                  </a:txBody>
                  <a:tcPr marL="40233" marR="40233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7625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редный объект</a:t>
                      </a:r>
                    </a:p>
                  </a:txBody>
                  <a:tcPr marL="40233" marR="40233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пособ, время обработки, особенности применения</a:t>
                      </a:r>
                    </a:p>
                  </a:txBody>
                  <a:tcPr marL="40233" marR="40233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7625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ок ожидания  (кратность обработок)</a:t>
                      </a:r>
                    </a:p>
                  </a:txBody>
                  <a:tcPr marL="40233" marR="40233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9510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0—1,5</a:t>
                      </a:r>
                    </a:p>
                  </a:txBody>
                  <a:tcPr marL="29222" marR="29222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7625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шеница, ячмень, </a:t>
                      </a:r>
                    </a:p>
                    <a:p>
                      <a:pPr marL="47625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ожь озимые</a:t>
                      </a:r>
                    </a:p>
                  </a:txBody>
                  <a:tcPr marL="29222" marR="29222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5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днолетние двудольные сорняки</a:t>
                      </a:r>
                    </a:p>
                  </a:txBody>
                  <a:tcPr marL="29222" marR="29222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ыскивание посевов в фазе кущения культуры до выхода в трубку весной. Расход рабочей жидкости — 200—300 л / га.</a:t>
                      </a:r>
                    </a:p>
                  </a:txBody>
                  <a:tcPr marL="41587" marR="41587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 (1)</a:t>
                      </a:r>
                    </a:p>
                  </a:txBody>
                  <a:tcPr marL="41587" marR="41587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42317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7—1,5</a:t>
                      </a:r>
                    </a:p>
                  </a:txBody>
                  <a:tcPr marL="29222" marR="29222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7625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шеница, </a:t>
                      </a:r>
                      <a:b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ячмень яровые, овес</a:t>
                      </a:r>
                    </a:p>
                  </a:txBody>
                  <a:tcPr marL="29222" marR="29222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ыскивание посевов в фазе кущения культуры до выхода в трубку.</a:t>
                      </a:r>
                      <a:b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сход рабочей жидкости — 200—300 л / га.</a:t>
                      </a:r>
                    </a:p>
                  </a:txBody>
                  <a:tcPr marL="41587" marR="41587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53357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—0,8</a:t>
                      </a:r>
                    </a:p>
                  </a:txBody>
                  <a:tcPr marL="29222" marR="29222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7625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орох на зерно</a:t>
                      </a:r>
                    </a:p>
                  </a:txBody>
                  <a:tcPr marL="29222" marR="29222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ыскивание посевов в фазе 3—5 настоящих листьев культуры</a:t>
                      </a:r>
                      <a:b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при высоте растений гороха 10—15 см). Запрещается обрабатывать культуру во время цветения. Расход рабочей жидкости — 200—300 л / га.</a:t>
                      </a:r>
                    </a:p>
                  </a:txBody>
                  <a:tcPr marL="41587" marR="41587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0 (1)</a:t>
                      </a:r>
                    </a:p>
                  </a:txBody>
                  <a:tcPr marL="41587" marR="41587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949606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,2</a:t>
                      </a:r>
                    </a:p>
                  </a:txBody>
                  <a:tcPr marL="29222" marR="29222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7625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ртофель (среднеспелые</a:t>
                      </a:r>
                      <a:b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 позднеспелые сорта)</a:t>
                      </a:r>
                    </a:p>
                  </a:txBody>
                  <a:tcPr marL="29222" marR="29222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ыскивание почвы до всходов культуры или при высоте ботвы</a:t>
                      </a:r>
                      <a:b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ртофеля 10—15 см. Расход рабочей жидкости — 200—300 л / га.</a:t>
                      </a:r>
                    </a:p>
                  </a:txBody>
                  <a:tcPr marL="41587" marR="41587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 (1)</a:t>
                      </a:r>
                    </a:p>
                  </a:txBody>
                  <a:tcPr marL="41587" marR="41587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29385"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8—1,0</a:t>
                      </a:r>
                    </a:p>
                  </a:txBody>
                  <a:tcPr marL="29222" marR="29222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7625" indent="0" algn="l">
                        <a:lnSpc>
                          <a:spcPct val="115000"/>
                        </a:lnSpc>
                        <a:spcAft>
                          <a:spcPts val="0"/>
                        </a:spcAft>
                        <a:tabLst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ен-долгунец</a:t>
                      </a:r>
                    </a:p>
                  </a:txBody>
                  <a:tcPr marL="29222" marR="29222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прыскивание посевов в фазе «елочки» при высоте культуры 3—10 см. Расход рабочей жидкости — 200—300 л / га.</a:t>
                      </a:r>
                    </a:p>
                  </a:txBody>
                  <a:tcPr marL="41587" marR="41587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– (1)</a:t>
                      </a:r>
                    </a:p>
                  </a:txBody>
                  <a:tcPr marL="41587" marR="41587" marT="0" marB="0" anchor="ctr">
                    <a:lnL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875519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49">
            <a:extLst>
              <a:ext uri="{FF2B5EF4-FFF2-40B4-BE49-F238E27FC236}">
                <a16:creationId xmlns:a16="http://schemas.microsoft.com/office/drawing/2014/main" id="{E8841050-935B-01D9-D2DF-6E7D101C94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7A2BF0AF-BACC-A058-49FD-B7EADCDF4B8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3" r="43"/>
          <a:stretch/>
        </p:blipFill>
        <p:spPr>
          <a:xfrm>
            <a:off x="0" y="-2158"/>
            <a:ext cx="6605584" cy="6857999"/>
          </a:xfrm>
          <a:prstGeom prst="rect">
            <a:avLst/>
          </a:prstGeom>
        </p:spPr>
      </p:pic>
      <p:pic>
        <p:nvPicPr>
          <p:cNvPr id="5" name="Рисунок 48">
            <a:extLst>
              <a:ext uri="{FF2B5EF4-FFF2-40B4-BE49-F238E27FC236}">
                <a16:creationId xmlns:a16="http://schemas.microsoft.com/office/drawing/2014/main" id="{EA7F87D8-C6F9-8BF0-8EF9-890DF12D0F5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9100" y="5380038"/>
            <a:ext cx="1625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33A90BF0-933E-53AF-A7A6-4876D5A8697E}"/>
              </a:ext>
            </a:extLst>
          </p:cNvPr>
          <p:cNvCxnSpPr/>
          <p:nvPr/>
        </p:nvCxnSpPr>
        <p:spPr>
          <a:xfrm flipV="1">
            <a:off x="4982882" y="-7938"/>
            <a:ext cx="1644650" cy="6865938"/>
          </a:xfrm>
          <a:prstGeom prst="line">
            <a:avLst/>
          </a:prstGeom>
          <a:ln>
            <a:solidFill>
              <a:srgbClr val="D30F4B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Textfeld 85">
            <a:extLst>
              <a:ext uri="{FF2B5EF4-FFF2-40B4-BE49-F238E27FC236}">
                <a16:creationId xmlns:a16="http://schemas.microsoft.com/office/drawing/2014/main" id="{46FE54B3-9710-AB7E-6D49-B3F26CF5C37C}"/>
              </a:ext>
            </a:extLst>
          </p:cNvPr>
          <p:cNvSpPr txBox="1"/>
          <p:nvPr/>
        </p:nvSpPr>
        <p:spPr bwMode="gray">
          <a:xfrm>
            <a:off x="8152951" y="3750644"/>
            <a:ext cx="5852298" cy="61555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/>
          <a:p>
            <a:r>
              <a:rPr lang="ru-RU" sz="4000" b="1" dirty="0">
                <a:solidFill>
                  <a:schemeClr val="bg1"/>
                </a:solidFill>
                <a:latin typeface="Arial" panose="020B0604020202020204" pitchFamily="34" charset="0"/>
              </a:rPr>
              <a:t>за внимание</a:t>
            </a:r>
            <a:endParaRPr lang="en-US" sz="4000" b="1" i="0" u="none" baseline="0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4FA25582-3D6C-6608-820F-8AC9339571B9}"/>
              </a:ext>
            </a:extLst>
          </p:cNvPr>
          <p:cNvSpPr/>
          <p:nvPr/>
        </p:nvSpPr>
        <p:spPr>
          <a:xfrm>
            <a:off x="6199638" y="2614865"/>
            <a:ext cx="5698347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8000" i="1" dirty="0" err="1">
                <a:solidFill>
                  <a:schemeClr val="bg1"/>
                </a:solidFill>
                <a:latin typeface="Arial" panose="020B0604020202020204" pitchFamily="34" charset="0"/>
                <a:ea typeface="Helvetica Neue Thin" panose="020B0403020202020204" pitchFamily="34" charset="0"/>
                <a:cs typeface="Arial" panose="020B0604020202020204" pitchFamily="34" charset="0"/>
              </a:rPr>
              <a:t>Спасибо</a:t>
            </a:r>
            <a:endParaRPr lang="ru-RU" sz="8000" i="1" dirty="0">
              <a:solidFill>
                <a:schemeClr val="bg1"/>
              </a:solidFill>
              <a:latin typeface="Arial" panose="020B0604020202020204" pitchFamily="34" charset="0"/>
              <a:ea typeface="Helvetica Neue Thin" panose="020B0403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068387CF-5E86-A0BC-8729-E7CDB3BDAB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01675" y="704850"/>
            <a:ext cx="720724" cy="720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7816842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9" name="Рисунок 95">
            <a:extLst>
              <a:ext uri="{FF2B5EF4-FFF2-40B4-BE49-F238E27FC236}">
                <a16:creationId xmlns:a16="http://schemas.microsoft.com/office/drawing/2014/main" id="{A62C8377-250D-BDB8-7B5E-2EC9705E1F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76288" y="0"/>
            <a:ext cx="1141571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7" name="Rechteck 119">
            <a:extLst>
              <a:ext uri="{FF2B5EF4-FFF2-40B4-BE49-F238E27FC236}">
                <a16:creationId xmlns:a16="http://schemas.microsoft.com/office/drawing/2014/main" id="{532CFAB8-CEAB-454C-71F6-C007073D6298}"/>
              </a:ext>
            </a:extLst>
          </p:cNvPr>
          <p:cNvSpPr/>
          <p:nvPr/>
        </p:nvSpPr>
        <p:spPr bwMode="gray">
          <a:xfrm>
            <a:off x="0" y="0"/>
            <a:ext cx="8113713" cy="6858000"/>
          </a:xfrm>
          <a:custGeom>
            <a:avLst/>
            <a:gdLst/>
            <a:ahLst/>
            <a:cxnLst/>
            <a:rect l="l" t="t" r="r" b="b"/>
            <a:pathLst>
              <a:path w="6667297" h="4751387">
                <a:moveTo>
                  <a:pt x="0" y="0"/>
                </a:moveTo>
                <a:lnTo>
                  <a:pt x="6667297" y="0"/>
                </a:lnTo>
                <a:lnTo>
                  <a:pt x="4724617" y="4751387"/>
                </a:lnTo>
                <a:lnTo>
                  <a:pt x="0" y="4751387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  <a:latin typeface="Arial" panose="020B0604020202020204" pitchFamily="34" charset="0"/>
            </a:endParaRPr>
          </a:p>
        </p:txBody>
      </p:sp>
      <p:sp>
        <p:nvSpPr>
          <p:cNvPr id="2052" name="TextBox 79">
            <a:extLst>
              <a:ext uri="{FF2B5EF4-FFF2-40B4-BE49-F238E27FC236}">
                <a16:creationId xmlns:a16="http://schemas.microsoft.com/office/drawing/2014/main" id="{581E3511-4528-A777-184D-79B7159480C1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941513" y="4017865"/>
            <a:ext cx="1851917" cy="785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ru-RU" altLang="ru-RU" sz="1600" b="1" dirty="0">
                <a:solidFill>
                  <a:srgbClr val="66B51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а расхода: </a:t>
            </a:r>
            <a:endParaRPr lang="en-US" altLang="ru-RU" sz="1600" b="1" dirty="0">
              <a:solidFill>
                <a:srgbClr val="66B51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50000"/>
              </a:lnSpc>
            </a:pPr>
            <a:r>
              <a:rPr lang="ru-RU" altLang="ru-RU" sz="1600" i="1" dirty="0">
                <a:latin typeface="Arial" panose="020B0604020202020204" pitchFamily="34" charset="0"/>
                <a:cs typeface="Arial" panose="020B0604020202020204" pitchFamily="34" charset="0"/>
              </a:rPr>
              <a:t>0,5 – 1,5 л/га</a:t>
            </a:r>
            <a:endParaRPr lang="en-US" altLang="ru-RU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53" name="Subtitle 2">
            <a:extLst>
              <a:ext uri="{FF2B5EF4-FFF2-40B4-BE49-F238E27FC236}">
                <a16:creationId xmlns:a16="http://schemas.microsoft.com/office/drawing/2014/main" id="{C3AB3D2D-BA7C-EE4C-49B1-9D6840550B68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941512" y="1655456"/>
            <a:ext cx="3742595" cy="10208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108745" tIns="54373" rIns="108745" bIns="54373">
            <a:spAutoFit/>
          </a:bodyPr>
          <a:lstStyle>
            <a:lvl1pPr defTabSz="1087438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1087438" defTabSz="1087438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2174875" defTabSz="1087438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3262313" defTabSz="1087438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4349750" defTabSz="1087438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4806950" defTabSz="1087438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5264150" defTabSz="1087438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5721350" defTabSz="1087438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6178550" defTabSz="1087438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ru-RU" altLang="ru-RU" sz="1600" b="1" dirty="0">
                <a:solidFill>
                  <a:srgbClr val="66B51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йствующее вещество: </a:t>
            </a:r>
            <a:endParaRPr lang="en-US" altLang="ru-RU" sz="1600" i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00000"/>
              </a:lnSpc>
              <a:spcBef>
                <a:spcPct val="20000"/>
              </a:spcBef>
              <a:buFont typeface="Arial" panose="020B0604020202020204" pitchFamily="34" charset="0"/>
              <a:buNone/>
            </a:pPr>
            <a:r>
              <a:rPr lang="ru-RU" altLang="ru-RU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ЦПА (</a:t>
            </a:r>
            <a:r>
              <a:rPr lang="ru-RU" altLang="ru-RU" sz="1600" i="1" dirty="0" err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метиламинная</a:t>
            </a:r>
            <a:r>
              <a:rPr lang="ru-RU" altLang="ru-RU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br>
              <a:rPr lang="ru-RU" altLang="ru-RU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600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иевая и натриевая соли), 500 г/л</a:t>
            </a:r>
          </a:p>
        </p:txBody>
      </p:sp>
      <p:sp>
        <p:nvSpPr>
          <p:cNvPr id="2054" name="TextBox 82">
            <a:extLst>
              <a:ext uri="{FF2B5EF4-FFF2-40B4-BE49-F238E27FC236}">
                <a16:creationId xmlns:a16="http://schemas.microsoft.com/office/drawing/2014/main" id="{2076592D-1C83-B3E7-3C4C-DB4039661D88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41513" y="2954402"/>
            <a:ext cx="3305328" cy="785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ru-RU" altLang="ru-RU" sz="1600" b="1" dirty="0">
                <a:solidFill>
                  <a:srgbClr val="66B51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паративная форма: </a:t>
            </a:r>
            <a:endParaRPr lang="en-US" altLang="ru-RU" sz="1600" b="1" dirty="0">
              <a:solidFill>
                <a:srgbClr val="66B51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lnSpc>
                <a:spcPct val="150000"/>
              </a:lnSpc>
            </a:pPr>
            <a:r>
              <a:rPr lang="ru-RU" altLang="ru-RU" sz="1600" i="1" dirty="0">
                <a:latin typeface="Arial" panose="020B0604020202020204" pitchFamily="34" charset="0"/>
                <a:cs typeface="Arial" panose="020B0604020202020204" pitchFamily="34" charset="0"/>
              </a:rPr>
              <a:t>Водорастворимый концентрат</a:t>
            </a:r>
            <a:endParaRPr lang="en-US" altLang="ru-RU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55" name="Рисунок 85">
            <a:extLst>
              <a:ext uri="{FF2B5EF4-FFF2-40B4-BE49-F238E27FC236}">
                <a16:creationId xmlns:a16="http://schemas.microsoft.com/office/drawing/2014/main" id="{2887FB3A-FFC0-A1E0-3868-B134E2EF5E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813" y="1886411"/>
            <a:ext cx="800100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6" name="Рисунок 87">
            <a:extLst>
              <a:ext uri="{FF2B5EF4-FFF2-40B4-BE49-F238E27FC236}">
                <a16:creationId xmlns:a16="http://schemas.microsoft.com/office/drawing/2014/main" id="{4FC7FF08-CDAC-4A01-3610-120B984C2B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813" y="3032842"/>
            <a:ext cx="800100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7" name="Рисунок 88">
            <a:extLst>
              <a:ext uri="{FF2B5EF4-FFF2-40B4-BE49-F238E27FC236}">
                <a16:creationId xmlns:a16="http://schemas.microsoft.com/office/drawing/2014/main" id="{77BD2663-0055-4F3D-21F1-632102D783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813" y="4071122"/>
            <a:ext cx="800100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58" name="Рисунок 89">
            <a:extLst>
              <a:ext uri="{FF2B5EF4-FFF2-40B4-BE49-F238E27FC236}">
                <a16:creationId xmlns:a16="http://schemas.microsoft.com/office/drawing/2014/main" id="{19704A30-2259-5F8A-C685-D79B2D679C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9813" y="5286375"/>
            <a:ext cx="800100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9" name="TextBox 90">
            <a:extLst>
              <a:ext uri="{FF2B5EF4-FFF2-40B4-BE49-F238E27FC236}">
                <a16:creationId xmlns:a16="http://schemas.microsoft.com/office/drawing/2014/main" id="{ABA35BBF-F2E5-6010-3676-26AE5B53A02E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41512" y="4969331"/>
            <a:ext cx="3223611" cy="1446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ctr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ru-RU" altLang="ru-RU" sz="1600" b="1" dirty="0">
                <a:solidFill>
                  <a:srgbClr val="66B51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ультуры: </a:t>
            </a:r>
            <a:endParaRPr lang="en-US" altLang="ru-RU" sz="1600" b="1" dirty="0">
              <a:solidFill>
                <a:srgbClr val="66B51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/>
            <a:r>
              <a:rPr lang="ru-RU" altLang="ru-RU" sz="1600" dirty="0"/>
              <a:t>Пшеница озимая, пшеница яровая, ячмень озимый, ячмень яровой, овес, горох на зерно, картофель, лен-долгунец</a:t>
            </a:r>
          </a:p>
        </p:txBody>
      </p:sp>
      <p:sp>
        <p:nvSpPr>
          <p:cNvPr id="2060" name="TextBox 92">
            <a:extLst>
              <a:ext uri="{FF2B5EF4-FFF2-40B4-BE49-F238E27FC236}">
                <a16:creationId xmlns:a16="http://schemas.microsoft.com/office/drawing/2014/main" id="{F2715A6A-7687-5079-CAED-1D43A5B5C71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6150" y="909638"/>
            <a:ext cx="434022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3200" i="1">
                <a:solidFill>
                  <a:srgbClr val="004422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Описание препарата</a:t>
            </a:r>
          </a:p>
        </p:txBody>
      </p:sp>
      <p:pic>
        <p:nvPicPr>
          <p:cNvPr id="2061" name="Рисунок 165">
            <a:extLst>
              <a:ext uri="{FF2B5EF4-FFF2-40B4-BE49-F238E27FC236}">
                <a16:creationId xmlns:a16="http://schemas.microsoft.com/office/drawing/2014/main" id="{695596E7-00C6-9FA4-22C8-C123194B21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88975" y="1012825"/>
            <a:ext cx="1625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62" name="Foliennummernplatzhalter 4">
            <a:extLst>
              <a:ext uri="{FF2B5EF4-FFF2-40B4-BE49-F238E27FC236}">
                <a16:creationId xmlns:a16="http://schemas.microsoft.com/office/drawing/2014/main" id="{460CFA95-74F4-514C-3948-EB967DFDC89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263" y="6361113"/>
            <a:ext cx="3937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97174188-B7BD-454D-850E-2F86D0F63C89}" type="slidenum">
              <a:rPr lang="ru-RU" altLang="ru-RU" sz="1800"/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2</a:t>
            </a:fld>
            <a:endParaRPr lang="ru-RU" altLang="ru-RU" sz="180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73" name="Группа 143">
            <a:extLst>
              <a:ext uri="{FF2B5EF4-FFF2-40B4-BE49-F238E27FC236}">
                <a16:creationId xmlns:a16="http://schemas.microsoft.com/office/drawing/2014/main" id="{FCE54B08-BEE2-2108-4278-E6DC5E4F7088}"/>
              </a:ext>
            </a:extLst>
          </p:cNvPr>
          <p:cNvGrpSpPr>
            <a:grpSpLocks/>
          </p:cNvGrpSpPr>
          <p:nvPr/>
        </p:nvGrpSpPr>
        <p:grpSpPr bwMode="auto">
          <a:xfrm>
            <a:off x="0" y="-7938"/>
            <a:ext cx="12192000" cy="6865938"/>
            <a:chOff x="0" y="-8265"/>
            <a:chExt cx="12192000" cy="6866265"/>
          </a:xfrm>
        </p:grpSpPr>
        <p:pic>
          <p:nvPicPr>
            <p:cNvPr id="3079" name="Рисунок 138">
              <a:extLst>
                <a:ext uri="{FF2B5EF4-FFF2-40B4-BE49-F238E27FC236}">
                  <a16:creationId xmlns:a16="http://schemas.microsoft.com/office/drawing/2014/main" id="{517CE1AA-01A9-C62A-D670-BCA7372E4AC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60336" y="-8265"/>
              <a:ext cx="7331664" cy="68662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1" name="Rechteck 119">
              <a:extLst>
                <a:ext uri="{FF2B5EF4-FFF2-40B4-BE49-F238E27FC236}">
                  <a16:creationId xmlns:a16="http://schemas.microsoft.com/office/drawing/2014/main" id="{D5EC9393-3E78-FB18-44DC-9AF3E635BA99}"/>
                </a:ext>
              </a:extLst>
            </p:cNvPr>
            <p:cNvSpPr/>
            <p:nvPr/>
          </p:nvSpPr>
          <p:spPr bwMode="gray">
            <a:xfrm>
              <a:off x="0" y="-327"/>
              <a:ext cx="8113713" cy="6858327"/>
            </a:xfrm>
            <a:custGeom>
              <a:avLst/>
              <a:gdLst/>
              <a:ahLst/>
              <a:cxnLst/>
              <a:rect l="l" t="t" r="r" b="b"/>
              <a:pathLst>
                <a:path w="6667297" h="4751387">
                  <a:moveTo>
                    <a:pt x="0" y="0"/>
                  </a:moveTo>
                  <a:lnTo>
                    <a:pt x="6667297" y="0"/>
                  </a:lnTo>
                  <a:lnTo>
                    <a:pt x="4724617" y="4751387"/>
                  </a:lnTo>
                  <a:lnTo>
                    <a:pt x="0" y="4751387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FFFFFF"/>
                </a:solidFill>
                <a:latin typeface="Arial" panose="020B0604020202020204" pitchFamily="34" charset="0"/>
              </a:endParaRPr>
            </a:p>
          </p:txBody>
        </p:sp>
      </p:grpSp>
      <p:sp>
        <p:nvSpPr>
          <p:cNvPr id="3074" name="Текст 6">
            <a:extLst>
              <a:ext uri="{FF2B5EF4-FFF2-40B4-BE49-F238E27FC236}">
                <a16:creationId xmlns:a16="http://schemas.microsoft.com/office/drawing/2014/main" id="{538836D3-2157-7596-8F82-664B439721A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54063" y="2008188"/>
            <a:ext cx="4668837" cy="39401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ru-RU" altLang="ru-RU" sz="1600" dirty="0">
                <a:solidFill>
                  <a:srgbClr val="9EC8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Высокоэффективен против широкого</a:t>
            </a:r>
            <a:b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  спектра двудольных сорняков</a:t>
            </a:r>
          </a:p>
          <a:p>
            <a:pPr eaLnBrk="1" hangingPunct="1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ru-RU" altLang="ru-RU" sz="1800" dirty="0">
                <a:solidFill>
                  <a:srgbClr val="9EC8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«Мягкий» к культуре за счет</a:t>
            </a:r>
            <a:b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   смеси трех солей</a:t>
            </a:r>
          </a:p>
          <a:p>
            <a:pPr eaLnBrk="1" hangingPunct="1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ru-RU" altLang="ru-RU" sz="1800" dirty="0">
                <a:solidFill>
                  <a:srgbClr val="9EC8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тличный компонент баковых смесей</a:t>
            </a:r>
            <a:b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  для расширения спектра активности</a:t>
            </a:r>
          </a:p>
          <a:p>
            <a:pPr eaLnBrk="1" hangingPunct="1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ru-RU" altLang="ru-RU" sz="1800" dirty="0">
                <a:solidFill>
                  <a:srgbClr val="9EC8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Широкий спектр культур —</a:t>
            </a:r>
            <a:b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  зерновые, горох, картофель, лен</a:t>
            </a:r>
          </a:p>
          <a:p>
            <a:pPr eaLnBrk="1" hangingPunct="1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ru-RU" altLang="ru-RU" sz="1800" dirty="0">
                <a:solidFill>
                  <a:srgbClr val="9EC8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Отсутствие ограничений в севообороте</a:t>
            </a:r>
          </a:p>
          <a:p>
            <a:pPr eaLnBrk="1" hangingPunct="1">
              <a:spcAft>
                <a:spcPts val="600"/>
              </a:spcAft>
              <a:buFont typeface="Arial" panose="020B0604020202020204" pitchFamily="34" charset="0"/>
              <a:buNone/>
            </a:pPr>
            <a:r>
              <a:rPr lang="ru-RU" altLang="ru-RU" sz="1800" dirty="0">
                <a:solidFill>
                  <a:srgbClr val="9EC8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/ </a:t>
            </a: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В баковых смесях с граминицидами не дает антагонизма (в отличии от 2,4-Д)</a:t>
            </a:r>
          </a:p>
          <a:p>
            <a:pPr eaLnBrk="1" hangingPunct="1">
              <a:spcAft>
                <a:spcPts val="600"/>
              </a:spcAft>
              <a:buFont typeface="Arial" panose="020B0604020202020204" pitchFamily="34" charset="0"/>
              <a:buNone/>
            </a:pPr>
            <a:endParaRPr lang="ru-RU" altLang="ru-RU" sz="1800" dirty="0"/>
          </a:p>
        </p:txBody>
      </p:sp>
      <p:sp>
        <p:nvSpPr>
          <p:cNvPr id="3076" name="TextBox 69">
            <a:extLst>
              <a:ext uri="{FF2B5EF4-FFF2-40B4-BE49-F238E27FC236}">
                <a16:creationId xmlns:a16="http://schemas.microsoft.com/office/drawing/2014/main" id="{788462E9-60CA-F3B9-4CDF-AF42C418547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46150" y="909638"/>
            <a:ext cx="518718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3200" i="1" dirty="0">
                <a:solidFill>
                  <a:srgbClr val="004422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Преимущества продукта</a:t>
            </a:r>
          </a:p>
        </p:txBody>
      </p:sp>
      <p:pic>
        <p:nvPicPr>
          <p:cNvPr id="3077" name="Рисунок 142">
            <a:extLst>
              <a:ext uri="{FF2B5EF4-FFF2-40B4-BE49-F238E27FC236}">
                <a16:creationId xmlns:a16="http://schemas.microsoft.com/office/drawing/2014/main" id="{5F2F85CA-67C2-DFA0-CB60-E9E220BCA5C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688975" y="1012825"/>
            <a:ext cx="1625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8" name="Foliennummernplatzhalter 4">
            <a:extLst>
              <a:ext uri="{FF2B5EF4-FFF2-40B4-BE49-F238E27FC236}">
                <a16:creationId xmlns:a16="http://schemas.microsoft.com/office/drawing/2014/main" id="{7ECD96FB-82E9-5CE1-19B8-B73EACFF296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263" y="6361113"/>
            <a:ext cx="3937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2EB8D744-11C6-B042-BE88-58F11DCFEFC9}" type="slidenum">
              <a:rPr lang="ru-RU" altLang="ru-RU" sz="1800"/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3</a:t>
            </a:fld>
            <a:endParaRPr lang="ru-RU" altLang="ru-RU" sz="180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7" name="Рисунок 9">
            <a:extLst>
              <a:ext uri="{FF2B5EF4-FFF2-40B4-BE49-F238E27FC236}">
                <a16:creationId xmlns:a16="http://schemas.microsoft.com/office/drawing/2014/main" id="{E2F6EDFF-2829-4C19-A23D-0FD75A93CF1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8" name="Рисунок 24">
            <a:extLst>
              <a:ext uri="{FF2B5EF4-FFF2-40B4-BE49-F238E27FC236}">
                <a16:creationId xmlns:a16="http://schemas.microsoft.com/office/drawing/2014/main" id="{4B0978ED-EBDA-0B00-1A4F-4BB6909339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43"/>
          <a:stretch>
            <a:fillRect/>
          </a:stretch>
        </p:blipFill>
        <p:spPr bwMode="auto">
          <a:xfrm>
            <a:off x="4421188" y="-15875"/>
            <a:ext cx="7770812" cy="6886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TextBox 10">
            <a:extLst>
              <a:ext uri="{FF2B5EF4-FFF2-40B4-BE49-F238E27FC236}">
                <a16:creationId xmlns:a16="http://schemas.microsoft.com/office/drawing/2014/main" id="{975B3A90-F1E2-9D96-3D28-65F2739CD6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11351" y="2112963"/>
            <a:ext cx="162095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2400" b="1" dirty="0">
                <a:solidFill>
                  <a:schemeClr val="bg1"/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действия</a:t>
            </a:r>
            <a:endParaRPr lang="ru-RU" altLang="ru-RU" sz="2400" dirty="0">
              <a:ea typeface="Helvetica Neue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4101" name="Текст 6">
            <a:extLst>
              <a:ext uri="{FF2B5EF4-FFF2-40B4-BE49-F238E27FC236}">
                <a16:creationId xmlns:a16="http://schemas.microsoft.com/office/drawing/2014/main" id="{60655133-C2A4-A6AB-6EC6-0E26B0C0F82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4875" y="3270250"/>
            <a:ext cx="4668838" cy="17054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alt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ЦПА относится к гербицидам</a:t>
            </a:r>
            <a:br>
              <a:rPr lang="ru-RU" alt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lang="ru-RU" altLang="ru-RU" sz="18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уксиноподобной</a:t>
            </a:r>
            <a:r>
              <a:rPr lang="en-US" alt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тивностью. Поглощаясь листовой поверхностью, действующее вещество нарушает гормональный баланс и вызывает аномалии в процессах роста и развития.</a:t>
            </a:r>
          </a:p>
        </p:txBody>
      </p:sp>
      <p:sp>
        <p:nvSpPr>
          <p:cNvPr id="4102" name="TextBox 14">
            <a:extLst>
              <a:ext uri="{FF2B5EF4-FFF2-40B4-BE49-F238E27FC236}">
                <a16:creationId xmlns:a16="http://schemas.microsoft.com/office/drawing/2014/main" id="{3D006BF5-5264-E028-2F52-CA08513DBA0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8438" y="1527175"/>
            <a:ext cx="208582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3200" i="1" dirty="0">
                <a:solidFill>
                  <a:schemeClr val="bg1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Механизм</a:t>
            </a:r>
          </a:p>
        </p:txBody>
      </p:sp>
      <p:pic>
        <p:nvPicPr>
          <p:cNvPr id="4103" name="Рисунок 15">
            <a:extLst>
              <a:ext uri="{FF2B5EF4-FFF2-40B4-BE49-F238E27FC236}">
                <a16:creationId xmlns:a16="http://schemas.microsoft.com/office/drawing/2014/main" id="{017BA602-7F26-DDD5-2B29-BF06AD917C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8275" y="1630363"/>
            <a:ext cx="1625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4" name="Straight Connector 16">
            <a:extLst>
              <a:ext uri="{FF2B5EF4-FFF2-40B4-BE49-F238E27FC236}">
                <a16:creationId xmlns:a16="http://schemas.microsoft.com/office/drawing/2014/main" id="{80F5544D-7B27-16F7-5F61-53C593D9525E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5097463" y="-9525"/>
            <a:ext cx="2505075" cy="6877050"/>
          </a:xfrm>
          <a:prstGeom prst="line">
            <a:avLst/>
          </a:prstGeom>
          <a:noFill/>
          <a:ln w="15875">
            <a:solidFill>
              <a:srgbClr val="D30F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8" tIns="45718" rIns="45718" bIns="45718"/>
          <a:lstStyle/>
          <a:p>
            <a:endParaRPr lang="ru-RU"/>
          </a:p>
        </p:txBody>
      </p:sp>
      <p:sp>
        <p:nvSpPr>
          <p:cNvPr id="4105" name="Foliennummernplatzhalter 4">
            <a:extLst>
              <a:ext uri="{FF2B5EF4-FFF2-40B4-BE49-F238E27FC236}">
                <a16:creationId xmlns:a16="http://schemas.microsoft.com/office/drawing/2014/main" id="{57742842-F56F-EB36-A485-39CC6DB2578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263" y="6361113"/>
            <a:ext cx="3937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6F9507C2-E9BB-3A4A-8CDA-0F062F2B29DA}" type="slidenum">
              <a:rPr lang="ru-RU" altLang="ru-RU" sz="1800">
                <a:solidFill>
                  <a:srgbClr val="FFFFFF"/>
                </a:solidFill>
              </a:rPr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4</a:t>
            </a:fld>
            <a:endParaRPr lang="ru-RU" altLang="ru-RU" sz="1800">
              <a:solidFill>
                <a:srgbClr val="FFFFFF"/>
              </a:solidFill>
            </a:endParaRPr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1" name="TextBox 3">
            <a:extLst>
              <a:ext uri="{FF2B5EF4-FFF2-40B4-BE49-F238E27FC236}">
                <a16:creationId xmlns:a16="http://schemas.microsoft.com/office/drawing/2014/main" id="{27833557-A70B-0AB7-D7F1-C42419DAB5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19313" y="2020888"/>
            <a:ext cx="2141537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2400" b="1">
                <a:solidFill>
                  <a:srgbClr val="10384F"/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воздействия</a:t>
            </a:r>
            <a:endParaRPr lang="ru-RU" altLang="ru-RU" sz="2400">
              <a:solidFill>
                <a:srgbClr val="10384F"/>
              </a:solidFill>
              <a:ea typeface="Helvetica Neue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5122" name="Текст 6">
            <a:extLst>
              <a:ext uri="{FF2B5EF4-FFF2-40B4-BE49-F238E27FC236}">
                <a16:creationId xmlns:a16="http://schemas.microsoft.com/office/drawing/2014/main" id="{AC86A492-AE9C-2D43-4061-1D957A439DC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4875" y="3270250"/>
            <a:ext cx="4668838" cy="2417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Рост чувствительных сорняков прекращается уже через несколько</a:t>
            </a:r>
            <a:b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часов после обработки.</a:t>
            </a:r>
          </a:p>
          <a:p>
            <a:pPr eaLnBrk="1" hangingPunct="1">
              <a:lnSpc>
                <a:spcPct val="100000"/>
              </a:lnSpc>
              <a:buFont typeface="Arial" panose="020B0604020202020204" pitchFamily="34" charset="0"/>
              <a:buNone/>
            </a:pP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Видимые симптомы проявляются</a:t>
            </a:r>
            <a:b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на следую­щий день после опрыскивания. Полное отмирание происходит че­рез</a:t>
            </a:r>
            <a:b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5—7 дней и позднее в зависимости</a:t>
            </a:r>
            <a:b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800" dirty="0">
                <a:latin typeface="Arial" panose="020B0604020202020204" pitchFamily="34" charset="0"/>
                <a:cs typeface="Arial" panose="020B0604020202020204" pitchFamily="34" charset="0"/>
              </a:rPr>
              <a:t>от погод­ных условий.</a:t>
            </a:r>
          </a:p>
        </p:txBody>
      </p:sp>
      <p:sp>
        <p:nvSpPr>
          <p:cNvPr id="5123" name="TextBox 5">
            <a:extLst>
              <a:ext uri="{FF2B5EF4-FFF2-40B4-BE49-F238E27FC236}">
                <a16:creationId xmlns:a16="http://schemas.microsoft.com/office/drawing/2014/main" id="{044A3E11-68B1-B119-59DF-482FD05A12B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8438" y="1527175"/>
            <a:ext cx="21209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en-US" altLang="ru-RU" sz="3200" i="1">
                <a:solidFill>
                  <a:srgbClr val="10384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C</a:t>
            </a:r>
            <a:r>
              <a:rPr lang="ru-RU" altLang="ru-RU" sz="3200" i="1">
                <a:solidFill>
                  <a:srgbClr val="10384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корость</a:t>
            </a:r>
          </a:p>
        </p:txBody>
      </p:sp>
      <p:pic>
        <p:nvPicPr>
          <p:cNvPr id="5124" name="Рисунок 6">
            <a:extLst>
              <a:ext uri="{FF2B5EF4-FFF2-40B4-BE49-F238E27FC236}">
                <a16:creationId xmlns:a16="http://schemas.microsoft.com/office/drawing/2014/main" id="{3DF1E646-7FC6-E363-F55D-6E645E97AF4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8275" y="1630363"/>
            <a:ext cx="1625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6" name="Рисунок 8">
            <a:extLst>
              <a:ext uri="{FF2B5EF4-FFF2-40B4-BE49-F238E27FC236}">
                <a16:creationId xmlns:a16="http://schemas.microsoft.com/office/drawing/2014/main" id="{A3BC15F7-7976-A5EC-845A-5940617F9BC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34" r="20" b="75"/>
          <a:stretch>
            <a:fillRect/>
          </a:stretch>
        </p:blipFill>
        <p:spPr bwMode="auto">
          <a:xfrm>
            <a:off x="4081463" y="0"/>
            <a:ext cx="8110537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7" name="Straight Connector 16">
            <a:extLst>
              <a:ext uri="{FF2B5EF4-FFF2-40B4-BE49-F238E27FC236}">
                <a16:creationId xmlns:a16="http://schemas.microsoft.com/office/drawing/2014/main" id="{79691DEC-9E11-9E35-8BC1-63CD1846EF85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4778375" y="-9525"/>
            <a:ext cx="2505075" cy="6877050"/>
          </a:xfrm>
          <a:prstGeom prst="line">
            <a:avLst/>
          </a:prstGeom>
          <a:noFill/>
          <a:ln w="15875">
            <a:solidFill>
              <a:srgbClr val="D30F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8" tIns="45718" rIns="45718" bIns="45718"/>
          <a:lstStyle/>
          <a:p>
            <a:endParaRPr lang="ru-RU"/>
          </a:p>
        </p:txBody>
      </p:sp>
      <p:sp>
        <p:nvSpPr>
          <p:cNvPr id="5128" name="Foliennummernplatzhalter 4">
            <a:extLst>
              <a:ext uri="{FF2B5EF4-FFF2-40B4-BE49-F238E27FC236}">
                <a16:creationId xmlns:a16="http://schemas.microsoft.com/office/drawing/2014/main" id="{553B0F31-C0F7-AA10-52A5-8DBBD36E163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263" y="6361113"/>
            <a:ext cx="3937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A0466E54-4336-3145-B6CE-262757FDC9E4}" type="slidenum">
              <a:rPr lang="ru-RU" altLang="ru-RU" sz="1800"/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5</a:t>
            </a:fld>
            <a:endParaRPr lang="ru-RU" altLang="ru-RU" sz="180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5" name="Текст 6">
            <a:extLst>
              <a:ext uri="{FF2B5EF4-FFF2-40B4-BE49-F238E27FC236}">
                <a16:creationId xmlns:a16="http://schemas.microsoft.com/office/drawing/2014/main" id="{BEAFC496-3967-C479-7CEB-4F9407028DE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04875" y="2601913"/>
            <a:ext cx="4668838" cy="2417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marL="0" indent="0">
              <a:lnSpc>
                <a:spcPct val="100000"/>
              </a:lnSpc>
              <a:buNone/>
            </a:pP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Совместим с препаратами на основе произ­водных </a:t>
            </a:r>
            <a:r>
              <a:rPr lang="ru-RU" sz="1800" dirty="0" err="1">
                <a:latin typeface="Arial" panose="020B0604020202020204" pitchFamily="34" charset="0"/>
                <a:cs typeface="Arial" panose="020B0604020202020204" pitchFamily="34" charset="0"/>
              </a:rPr>
              <a:t>сульфонилмочевины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800" dirty="0" err="1">
                <a:latin typeface="Arial" panose="020B0604020202020204" pitchFamily="34" charset="0"/>
                <a:cs typeface="Arial" panose="020B0604020202020204" pitchFamily="34" charset="0"/>
              </a:rPr>
              <a:t>дикамбы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800" dirty="0" err="1">
                <a:latin typeface="Arial" panose="020B0604020202020204" pitchFamily="34" charset="0"/>
                <a:cs typeface="Arial" panose="020B0604020202020204" pitchFamily="34" charset="0"/>
              </a:rPr>
              <a:t>клопи­ралида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ru-RU" sz="1800" dirty="0" err="1">
                <a:latin typeface="Arial" panose="020B0604020202020204" pitchFamily="34" charset="0"/>
                <a:cs typeface="Arial" panose="020B0604020202020204" pitchFamily="34" charset="0"/>
              </a:rPr>
              <a:t>бентазона</a:t>
            </a:r>
            <a:r>
              <a:rPr lang="ru-RU" sz="18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sp>
        <p:nvSpPr>
          <p:cNvPr id="6146" name="TextBox 5">
            <a:extLst>
              <a:ext uri="{FF2B5EF4-FFF2-40B4-BE49-F238E27FC236}">
                <a16:creationId xmlns:a16="http://schemas.microsoft.com/office/drawing/2014/main" id="{2728E3DD-CBB2-46A0-5D3D-915A6FF27A8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8438" y="1527175"/>
            <a:ext cx="3467100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3200" i="1" dirty="0">
                <a:solidFill>
                  <a:srgbClr val="10384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Совместимость</a:t>
            </a:r>
          </a:p>
        </p:txBody>
      </p:sp>
      <p:pic>
        <p:nvPicPr>
          <p:cNvPr id="6147" name="Рисунок 6">
            <a:extLst>
              <a:ext uri="{FF2B5EF4-FFF2-40B4-BE49-F238E27FC236}">
                <a16:creationId xmlns:a16="http://schemas.microsoft.com/office/drawing/2014/main" id="{748ADCBF-485A-2262-6180-7B168BB02B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8275" y="1630363"/>
            <a:ext cx="1625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49" name="Foliennummernplatzhalter 4">
            <a:extLst>
              <a:ext uri="{FF2B5EF4-FFF2-40B4-BE49-F238E27FC236}">
                <a16:creationId xmlns:a16="http://schemas.microsoft.com/office/drawing/2014/main" id="{C5EF36C6-BBC8-6634-FA28-6793EADD4B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263" y="6361113"/>
            <a:ext cx="3937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B48B7F4D-D5E3-0445-9CB2-CFBE403F3AE7}" type="slidenum">
              <a:rPr lang="ru-RU" altLang="ru-RU" sz="1800"/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6</a:t>
            </a:fld>
            <a:endParaRPr lang="ru-RU" altLang="ru-RU" sz="1800"/>
          </a:p>
        </p:txBody>
      </p:sp>
      <p:pic>
        <p:nvPicPr>
          <p:cNvPr id="6150" name="Рисунок 9">
            <a:extLst>
              <a:ext uri="{FF2B5EF4-FFF2-40B4-BE49-F238E27FC236}">
                <a16:creationId xmlns:a16="http://schemas.microsoft.com/office/drawing/2014/main" id="{73A62C77-AEFD-7A89-A123-CD447FAEEA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3" t="37" r="79" b="87"/>
          <a:stretch>
            <a:fillRect/>
          </a:stretch>
        </p:blipFill>
        <p:spPr bwMode="auto">
          <a:xfrm>
            <a:off x="5668963" y="-9525"/>
            <a:ext cx="6523037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151" name="Straight Connector 16">
            <a:extLst>
              <a:ext uri="{FF2B5EF4-FFF2-40B4-BE49-F238E27FC236}">
                <a16:creationId xmlns:a16="http://schemas.microsoft.com/office/drawing/2014/main" id="{004000EF-2C73-CAAD-EC52-573564C4F324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5287963" y="-9525"/>
            <a:ext cx="2505075" cy="6877050"/>
          </a:xfrm>
          <a:prstGeom prst="line">
            <a:avLst/>
          </a:prstGeom>
          <a:noFill/>
          <a:ln w="15875">
            <a:solidFill>
              <a:srgbClr val="D30F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8" tIns="45718" rIns="45718" bIns="45718"/>
          <a:lstStyle/>
          <a:p>
            <a:endParaRPr lang="ru-RU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Foliennummernplatzhalter 4">
            <a:extLst>
              <a:ext uri="{FF2B5EF4-FFF2-40B4-BE49-F238E27FC236}">
                <a16:creationId xmlns:a16="http://schemas.microsoft.com/office/drawing/2014/main" id="{4581E047-A376-2C40-2F21-34B4234D25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263" y="6361113"/>
            <a:ext cx="3937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71347FC8-277F-664C-9A52-D45A73C0EE9F}" type="slidenum">
              <a:rPr lang="ru-RU" altLang="ru-RU" sz="1800"/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7</a:t>
            </a:fld>
            <a:endParaRPr lang="ru-RU" altLang="ru-RU" sz="1800"/>
          </a:p>
        </p:txBody>
      </p:sp>
      <p:sp>
        <p:nvSpPr>
          <p:cNvPr id="7171" name="Текст 6">
            <a:extLst>
              <a:ext uri="{FF2B5EF4-FFF2-40B4-BE49-F238E27FC236}">
                <a16:creationId xmlns:a16="http://schemas.microsoft.com/office/drawing/2014/main" id="{837BFED4-48EB-16F5-36C3-7CC97944636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0326" y="1680600"/>
            <a:ext cx="5260873" cy="4764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buFont typeface="Arial" panose="020B0604020202020204" pitchFamily="34" charset="0"/>
              <a:buNone/>
            </a:pPr>
            <a:r>
              <a:rPr lang="ru-RU" altLang="ru-RU" sz="15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увствительные:</a:t>
            </a:r>
          </a:p>
          <a:p>
            <a:pPr eaLnBrk="1" hangingPunct="1">
              <a:buFont typeface="Arial" panose="020B0604020202020204" pitchFamily="34" charset="0"/>
              <a:buNone/>
            </a:pP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хвощ полевой</a:t>
            </a:r>
            <a:r>
              <a:rPr lang="en-US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марь белая, лебеда (виды), пастушья сумка, амброзия </a:t>
            </a:r>
            <a:r>
              <a:rPr lang="ru-RU" alt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полынолистная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, бодяк полевой, капуста полевая, вьюнок полевой, клубнекамыш (виды), редька дикая, василек синий, кохия </a:t>
            </a:r>
            <a:r>
              <a:rPr lang="ru-RU" alt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веничная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, крестовник обыкновенный, гулявник лекарственный, щирица запро­кинутая, горчица полевая, чистец однолетний, </a:t>
            </a:r>
            <a:r>
              <a:rPr lang="ru-RU" alt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дейскурания</a:t>
            </a:r>
            <a:r>
              <a:rPr lang="en-US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софии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, незабудка полевая, яснотка пурпурная, дур­нишник обыкновенный, одуванчик лекарствен­ный, ярутка полевая, желтушник левкойный, стрелолист </a:t>
            </a:r>
            <a:r>
              <a:rPr lang="ru-RU" alt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трилистный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, сушеница болотная, крапива жгучая, сусак зонтичный, дивала однолетняя, гулявник </a:t>
            </a:r>
            <a:r>
              <a:rPr lang="ru-RU" alt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лезеля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alt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монохория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корса­кова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, часту­ха (виды).</a:t>
            </a:r>
          </a:p>
          <a:p>
            <a:pPr eaLnBrk="1" hangingPunct="1">
              <a:buFont typeface="Arial" panose="020B0604020202020204" pitchFamily="34" charset="0"/>
              <a:buNone/>
            </a:pPr>
            <a:r>
              <a:rPr lang="ru-RU" altLang="ru-RU" sz="15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меренно чувствительные:</a:t>
            </a:r>
          </a:p>
          <a:p>
            <a:pPr eaLnBrk="1" hangingPunct="1">
              <a:buFont typeface="Arial" panose="020B0604020202020204" pitchFamily="34" charset="0"/>
              <a:buNone/>
            </a:pP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аистник ци­кутовый</a:t>
            </a:r>
            <a:r>
              <a:rPr lang="en-US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altLang="ru-RU" sz="1400">
                <a:latin typeface="Arial" panose="020B0604020202020204" pitchFamily="34" charset="0"/>
                <a:cs typeface="Arial" panose="020B0604020202020204" pitchFamily="34" charset="0"/>
              </a:rPr>
              <a:t> паслен черный, 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дымянка лекарственная, </a:t>
            </a:r>
            <a:r>
              <a:rPr lang="ru-RU" alt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пикульник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 (виды), ромашка непахучая, вероника (виды), канатник </a:t>
            </a:r>
            <a:r>
              <a:rPr lang="ru-RU" alt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теофраста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, смолевка обыкновенная, вика </a:t>
            </a:r>
            <a:r>
              <a:rPr lang="ru-RU" altLang="ru-RU" sz="1400" dirty="0" err="1">
                <a:latin typeface="Arial" panose="020B0604020202020204" pitchFamily="34" charset="0"/>
                <a:cs typeface="Arial" panose="020B0604020202020204" pitchFamily="34" charset="0"/>
              </a:rPr>
              <a:t>сорнополевая</a:t>
            </a: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, молочай лозный, осот желтый, го­рец (виды), пупавка полевая, вика волосистая.</a:t>
            </a:r>
          </a:p>
          <a:p>
            <a:pPr eaLnBrk="1" hangingPunct="1">
              <a:buFont typeface="Arial" panose="020B0604020202020204" pitchFamily="34" charset="0"/>
              <a:buNone/>
            </a:pPr>
            <a:r>
              <a:rPr lang="ru-RU" altLang="ru-RU" sz="15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лабо чувствительные:</a:t>
            </a:r>
          </a:p>
          <a:p>
            <a:pPr eaLnBrk="1" hangingPunct="1">
              <a:buFont typeface="Arial" panose="020B0604020202020204" pitchFamily="34" charset="0"/>
              <a:buNone/>
            </a:pPr>
            <a:r>
              <a:rPr lang="ru-RU" altLang="ru-RU" sz="1400" dirty="0">
                <a:latin typeface="Arial" panose="020B0604020202020204" pitchFamily="34" charset="0"/>
                <a:cs typeface="Arial" panose="020B0604020202020204" pitchFamily="34" charset="0"/>
              </a:rPr>
              <a:t>по­лынь обыкновенная, фиалка полевая, подма­ренник цепкий, звездчатка средняя.</a:t>
            </a:r>
            <a:endParaRPr lang="ru-RU" altLang="ru-RU" sz="14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eaLnBrk="1" hangingPunct="1">
              <a:buFont typeface="Arial" panose="020B0604020202020204" pitchFamily="34" charset="0"/>
              <a:buNone/>
            </a:pPr>
            <a:endParaRPr lang="ru-RU" altLang="ru-RU" sz="13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172" name="Рисунок 8">
            <a:extLst>
              <a:ext uri="{FF2B5EF4-FFF2-40B4-BE49-F238E27FC236}">
                <a16:creationId xmlns:a16="http://schemas.microsoft.com/office/drawing/2014/main" id="{19D007D2-F5CB-2F6D-D6F4-629F0FD06E1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8275" y="809625"/>
            <a:ext cx="1625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3" name="Рисунок 13" descr="Изображение выглядит как цветок, снимок экрана, растение, сад&#10;&#10;Автоматически созданное описание">
            <a:extLst>
              <a:ext uri="{FF2B5EF4-FFF2-40B4-BE49-F238E27FC236}">
                <a16:creationId xmlns:a16="http://schemas.microsoft.com/office/drawing/2014/main" id="{6E211FAC-B842-7274-03EE-B023B24709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61038" y="0"/>
            <a:ext cx="6430962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4" name="Straight Connector 16">
            <a:extLst>
              <a:ext uri="{FF2B5EF4-FFF2-40B4-BE49-F238E27FC236}">
                <a16:creationId xmlns:a16="http://schemas.microsoft.com/office/drawing/2014/main" id="{D04EF7E4-0100-EDF1-9B9F-A2BCDA103329}"/>
              </a:ext>
            </a:extLst>
          </p:cNvPr>
          <p:cNvSpPr>
            <a:spLocks noChangeShapeType="1"/>
          </p:cNvSpPr>
          <p:nvPr/>
        </p:nvSpPr>
        <p:spPr bwMode="auto">
          <a:xfrm flipH="1">
            <a:off x="5287963" y="-9525"/>
            <a:ext cx="2505075" cy="6877050"/>
          </a:xfrm>
          <a:prstGeom prst="line">
            <a:avLst/>
          </a:prstGeom>
          <a:noFill/>
          <a:ln w="15875">
            <a:solidFill>
              <a:srgbClr val="D30F4B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45718" tIns="45718" rIns="45718" bIns="45718"/>
          <a:lstStyle/>
          <a:p>
            <a:endParaRPr lang="ru-RU"/>
          </a:p>
        </p:txBody>
      </p:sp>
      <p:sp>
        <p:nvSpPr>
          <p:cNvPr id="7175" name="TextBox 17">
            <a:extLst>
              <a:ext uri="{FF2B5EF4-FFF2-40B4-BE49-F238E27FC236}">
                <a16:creationId xmlns:a16="http://schemas.microsoft.com/office/drawing/2014/main" id="{D2241F32-77C9-34D0-1046-D236EB19A35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19313" y="1181100"/>
            <a:ext cx="1919287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2400" b="1">
                <a:solidFill>
                  <a:srgbClr val="10384F"/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активности</a:t>
            </a:r>
            <a:endParaRPr lang="ru-RU" altLang="ru-RU" sz="2400">
              <a:solidFill>
                <a:srgbClr val="10384F"/>
              </a:solidFill>
              <a:ea typeface="Helvetica Neue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7176" name="TextBox 18">
            <a:extLst>
              <a:ext uri="{FF2B5EF4-FFF2-40B4-BE49-F238E27FC236}">
                <a16:creationId xmlns:a16="http://schemas.microsoft.com/office/drawing/2014/main" id="{6111B147-F282-1E57-626B-14F0EF9BA6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8438" y="706438"/>
            <a:ext cx="1697037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3200" i="1">
                <a:solidFill>
                  <a:srgbClr val="10384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Спектр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Picture 2">
            <a:extLst>
              <a:ext uri="{FF2B5EF4-FFF2-40B4-BE49-F238E27FC236}">
                <a16:creationId xmlns:a16="http://schemas.microsoft.com/office/drawing/2014/main" id="{3FF4360F-ACD3-CE36-50E6-6062D841487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6836" y="1687036"/>
            <a:ext cx="11198328" cy="1960023"/>
          </a:xfrm>
          <a:prstGeom prst="rect">
            <a:avLst/>
          </a:prstGeom>
          <a:noFill/>
          <a:ln>
            <a:noFill/>
          </a:ln>
          <a:effectLst/>
        </p:spPr>
      </p:pic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BA4247C2-16E8-C5B3-9DDE-32CAF34AC39C}"/>
              </a:ext>
            </a:extLst>
          </p:cNvPr>
          <p:cNvGrpSpPr/>
          <p:nvPr/>
        </p:nvGrpSpPr>
        <p:grpSpPr>
          <a:xfrm>
            <a:off x="1327551" y="2201196"/>
            <a:ext cx="9566591" cy="1787280"/>
            <a:chOff x="1327551" y="3243678"/>
            <a:chExt cx="9566591" cy="4824000"/>
          </a:xfrm>
        </p:grpSpPr>
        <p:cxnSp>
          <p:nvCxnSpPr>
            <p:cNvPr id="10" name="Прямая соединительная линия 9">
              <a:extLst>
                <a:ext uri="{FF2B5EF4-FFF2-40B4-BE49-F238E27FC236}">
                  <a16:creationId xmlns:a16="http://schemas.microsoft.com/office/drawing/2014/main" id="{034FC6EF-5C53-E4A6-1345-8E118986B0B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25929" y="3243678"/>
              <a:ext cx="0" cy="482400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>
              <a:extLst>
                <a:ext uri="{FF2B5EF4-FFF2-40B4-BE49-F238E27FC236}">
                  <a16:creationId xmlns:a16="http://schemas.microsoft.com/office/drawing/2014/main" id="{7286FBFF-5CEA-3541-8555-BFD1BE9E08C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107624" y="3243678"/>
              <a:ext cx="0" cy="482400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>
              <a:extLst>
                <a:ext uri="{FF2B5EF4-FFF2-40B4-BE49-F238E27FC236}">
                  <a16:creationId xmlns:a16="http://schemas.microsoft.com/office/drawing/2014/main" id="{320D6E71-D48D-D777-8CD4-1F2F37DEE1F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121758" y="3243678"/>
              <a:ext cx="0" cy="482400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единительная линия 12">
              <a:extLst>
                <a:ext uri="{FF2B5EF4-FFF2-40B4-BE49-F238E27FC236}">
                  <a16:creationId xmlns:a16="http://schemas.microsoft.com/office/drawing/2014/main" id="{E874FAF3-7E63-7421-7160-7716FBBE76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327551" y="3243678"/>
              <a:ext cx="0" cy="482400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1CA14444-4760-BDE2-7FE6-6FFF1659418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719314" y="3243678"/>
              <a:ext cx="0" cy="482400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764B6F1E-6550-0469-D779-E6A91AFF815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315009" y="3243678"/>
              <a:ext cx="0" cy="482400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единительная линия 17">
              <a:extLst>
                <a:ext uri="{FF2B5EF4-FFF2-40B4-BE49-F238E27FC236}">
                  <a16:creationId xmlns:a16="http://schemas.microsoft.com/office/drawing/2014/main" id="{B35F8332-7D17-B3DF-E85E-20BF801E71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100477" y="3243678"/>
              <a:ext cx="0" cy="482400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id="{6D27228D-90E2-633D-837A-1F8A278DE76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519807" y="3243678"/>
              <a:ext cx="0" cy="482400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>
              <a:extLst>
                <a:ext uri="{FF2B5EF4-FFF2-40B4-BE49-F238E27FC236}">
                  <a16:creationId xmlns:a16="http://schemas.microsoft.com/office/drawing/2014/main" id="{E40DAA5B-EFAA-B27E-6438-26EDF75FDA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697627" y="3243678"/>
              <a:ext cx="0" cy="482400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>
              <a:extLst>
                <a:ext uri="{FF2B5EF4-FFF2-40B4-BE49-F238E27FC236}">
                  <a16:creationId xmlns:a16="http://schemas.microsoft.com/office/drawing/2014/main" id="{6BF75C3D-28C2-5D5C-E487-8D4C2D4CF62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903420" y="3243678"/>
              <a:ext cx="0" cy="482400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единительная линия 21">
              <a:extLst>
                <a:ext uri="{FF2B5EF4-FFF2-40B4-BE49-F238E27FC236}">
                  <a16:creationId xmlns:a16="http://schemas.microsoft.com/office/drawing/2014/main" id="{2ED1A8CC-F271-F79F-B0F3-F7649636B73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303787" y="3243678"/>
              <a:ext cx="0" cy="482400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единительная линия 22">
              <a:extLst>
                <a:ext uri="{FF2B5EF4-FFF2-40B4-BE49-F238E27FC236}">
                  <a16:creationId xmlns:a16="http://schemas.microsoft.com/office/drawing/2014/main" id="{29F423E9-7790-DFAE-858E-1C220F78777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894142" y="3243678"/>
              <a:ext cx="0" cy="482400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8" name="Группа 67">
            <a:extLst>
              <a:ext uri="{FF2B5EF4-FFF2-40B4-BE49-F238E27FC236}">
                <a16:creationId xmlns:a16="http://schemas.microsoft.com/office/drawing/2014/main" id="{43159271-D63E-3484-447A-ABB7B56C1C1E}"/>
              </a:ext>
            </a:extLst>
          </p:cNvPr>
          <p:cNvGrpSpPr/>
          <p:nvPr/>
        </p:nvGrpSpPr>
        <p:grpSpPr>
          <a:xfrm>
            <a:off x="2919737" y="1920928"/>
            <a:ext cx="1594431" cy="1787280"/>
            <a:chOff x="2919737" y="1911302"/>
            <a:chExt cx="1594431" cy="2477110"/>
          </a:xfrm>
        </p:grpSpPr>
        <p:cxnSp>
          <p:nvCxnSpPr>
            <p:cNvPr id="63" name="Прямая соединительная линия 62">
              <a:extLst>
                <a:ext uri="{FF2B5EF4-FFF2-40B4-BE49-F238E27FC236}">
                  <a16:creationId xmlns:a16="http://schemas.microsoft.com/office/drawing/2014/main" id="{347957F4-EBA4-321B-D64B-35646D534D7A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919737" y="1911302"/>
              <a:ext cx="0" cy="2477110"/>
            </a:xfrm>
            <a:prstGeom prst="line">
              <a:avLst/>
            </a:prstGeom>
            <a:ln w="19050">
              <a:solidFill>
                <a:srgbClr val="00B05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Прямая соединительная линия 63">
              <a:extLst>
                <a:ext uri="{FF2B5EF4-FFF2-40B4-BE49-F238E27FC236}">
                  <a16:creationId xmlns:a16="http://schemas.microsoft.com/office/drawing/2014/main" id="{43316CA2-866F-95BE-4B13-CCCFDF7C09B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4514168" y="1911302"/>
              <a:ext cx="0" cy="2477110"/>
            </a:xfrm>
            <a:prstGeom prst="line">
              <a:avLst/>
            </a:prstGeom>
            <a:ln w="19050">
              <a:solidFill>
                <a:srgbClr val="00B05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EF6C925E-E425-FC82-5B76-036C4D87FE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263" y="6361113"/>
            <a:ext cx="3937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71347FC8-277F-664C-9A52-D45A73C0EE9F}" type="slidenum">
              <a:rPr lang="ru-RU" altLang="ru-RU" sz="1800"/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8</a:t>
            </a:fld>
            <a:endParaRPr lang="ru-RU" altLang="ru-RU" sz="1800"/>
          </a:p>
        </p:txBody>
      </p:sp>
      <p:pic>
        <p:nvPicPr>
          <p:cNvPr id="6" name="Рисунок 8">
            <a:extLst>
              <a:ext uri="{FF2B5EF4-FFF2-40B4-BE49-F238E27FC236}">
                <a16:creationId xmlns:a16="http://schemas.microsoft.com/office/drawing/2014/main" id="{FECA77E3-5F3B-9B4E-8C32-21E938E9D4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8275" y="809625"/>
            <a:ext cx="1625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17">
            <a:extLst>
              <a:ext uri="{FF2B5EF4-FFF2-40B4-BE49-F238E27FC236}">
                <a16:creationId xmlns:a16="http://schemas.microsoft.com/office/drawing/2014/main" id="{D7B09CED-2370-CE1F-AFBA-53585100FD2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13987" y="1181100"/>
            <a:ext cx="3788794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2400" b="1" dirty="0">
                <a:solidFill>
                  <a:srgbClr val="10384F"/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на зерновых культурах</a:t>
            </a:r>
            <a:endParaRPr lang="ru-RU" altLang="ru-RU" sz="2400" dirty="0">
              <a:solidFill>
                <a:srgbClr val="10384F"/>
              </a:solidFill>
              <a:ea typeface="Helvetica Neue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8" name="TextBox 18">
            <a:extLst>
              <a:ext uri="{FF2B5EF4-FFF2-40B4-BE49-F238E27FC236}">
                <a16:creationId xmlns:a16="http://schemas.microsoft.com/office/drawing/2014/main" id="{B18C18E4-28AF-AC95-7C2B-9651A376CE6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8438" y="706438"/>
            <a:ext cx="647343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3200" i="1" dirty="0">
                <a:solidFill>
                  <a:srgbClr val="10384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Регламент применения</a:t>
            </a:r>
            <a:r>
              <a:rPr lang="en-US" altLang="ru-RU" sz="3200" i="1" dirty="0">
                <a:solidFill>
                  <a:srgbClr val="10384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 </a:t>
            </a:r>
            <a:r>
              <a:rPr lang="ru-RU" altLang="ru-RU" sz="3200" i="1" dirty="0" err="1">
                <a:solidFill>
                  <a:srgbClr val="10384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Гербикс</a:t>
            </a:r>
            <a:endParaRPr lang="ru-RU" altLang="ru-RU" sz="3200" i="1" dirty="0">
              <a:solidFill>
                <a:srgbClr val="10384F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</a:endParaRPr>
          </a:p>
        </p:txBody>
      </p:sp>
      <p:sp>
        <p:nvSpPr>
          <p:cNvPr id="65" name="TextBox 64">
            <a:extLst>
              <a:ext uri="{FF2B5EF4-FFF2-40B4-BE49-F238E27FC236}">
                <a16:creationId xmlns:a16="http://schemas.microsoft.com/office/drawing/2014/main" id="{FF6B26BE-E179-6522-D8C4-AD4C8DE1F3B0}"/>
              </a:ext>
            </a:extLst>
          </p:cNvPr>
          <p:cNvSpPr txBox="1"/>
          <p:nvPr/>
        </p:nvSpPr>
        <p:spPr bwMode="gray">
          <a:xfrm>
            <a:off x="2929363" y="1924842"/>
            <a:ext cx="1584624" cy="82484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80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Начало-конец</a:t>
            </a:r>
          </a:p>
          <a:p>
            <a:pPr marL="0" marR="0" lvl="0" indent="0" algn="ctr" defTabSz="12180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i="1" kern="0" dirty="0">
                <a:latin typeface="Arial"/>
                <a:cs typeface="Arial"/>
              </a:rPr>
              <a:t>кущения</a:t>
            </a:r>
          </a:p>
          <a:p>
            <a:pPr marL="0" marR="0" lvl="0" indent="0" algn="ctr" defTabSz="12180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1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ctr" defTabSz="12180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0,7 — 1,5 л/га</a:t>
            </a:r>
          </a:p>
        </p:txBody>
      </p:sp>
      <p:graphicFrame>
        <p:nvGraphicFramePr>
          <p:cNvPr id="24" name="Таблица 23">
            <a:extLst>
              <a:ext uri="{FF2B5EF4-FFF2-40B4-BE49-F238E27FC236}">
                <a16:creationId xmlns:a16="http://schemas.microsoft.com/office/drawing/2014/main" id="{6EA5E382-EA47-8073-9811-3A726036A58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7685827"/>
              </p:ext>
            </p:extLst>
          </p:nvPr>
        </p:nvGraphicFramePr>
        <p:xfrm>
          <a:off x="520084" y="3708298"/>
          <a:ext cx="11175080" cy="42100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8220">
                  <a:extLst>
                    <a:ext uri="{9D8B030D-6E8A-4147-A177-3AD203B41FA5}">
                      <a16:colId xmlns:a16="http://schemas.microsoft.com/office/drawing/2014/main" val="3493289995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3082739806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2114434704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1073776277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3529719284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1096851691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4135671139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2772224972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3087162715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3483788615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3571124004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2860002009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3113235830"/>
                    </a:ext>
                  </a:extLst>
                </a:gridCol>
                <a:gridCol w="798220">
                  <a:extLst>
                    <a:ext uri="{9D8B030D-6E8A-4147-A177-3AD203B41FA5}">
                      <a16:colId xmlns:a16="http://schemas.microsoft.com/office/drawing/2014/main" val="2440249093"/>
                    </a:ext>
                  </a:extLst>
                </a:gridCol>
              </a:tblGrid>
              <a:tr h="277644"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</a:t>
                      </a:r>
                    </a:p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сева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 — 7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 — 13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2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7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9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1 — 59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1 — 69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1 — 87</a:t>
                      </a:r>
                    </a:p>
                  </a:txBody>
                  <a:tcPr marL="27623" marR="27623" marT="27623" marB="27623" anchor="ctr">
                    <a:lnL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AFCA0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6906185"/>
                  </a:ext>
                </a:extLst>
              </a:tr>
            </a:tbl>
          </a:graphicData>
        </a:graphic>
      </p:graphicFrame>
      <p:grpSp>
        <p:nvGrpSpPr>
          <p:cNvPr id="61" name="Группа 60">
            <a:extLst>
              <a:ext uri="{FF2B5EF4-FFF2-40B4-BE49-F238E27FC236}">
                <a16:creationId xmlns:a16="http://schemas.microsoft.com/office/drawing/2014/main" id="{53CE6E26-1808-882C-B642-ECBAF1ECC539}"/>
              </a:ext>
            </a:extLst>
          </p:cNvPr>
          <p:cNvGrpSpPr/>
          <p:nvPr/>
        </p:nvGrpSpPr>
        <p:grpSpPr>
          <a:xfrm>
            <a:off x="1216139" y="4180827"/>
            <a:ext cx="10544305" cy="507831"/>
            <a:chOff x="1216139" y="4361708"/>
            <a:chExt cx="10544305" cy="507831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F374CA45-6AA4-3EDD-C36D-9F82A615F787}"/>
                </a:ext>
              </a:extLst>
            </p:cNvPr>
            <p:cNvSpPr txBox="1"/>
            <p:nvPr/>
          </p:nvSpPr>
          <p:spPr>
            <a:xfrm>
              <a:off x="1216139" y="4361708"/>
              <a:ext cx="1012688" cy="2308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Прорастание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1F976046-864D-665D-7FDD-6133ECA76687}"/>
                </a:ext>
              </a:extLst>
            </p:cNvPr>
            <p:cNvSpPr txBox="1"/>
            <p:nvPr/>
          </p:nvSpPr>
          <p:spPr>
            <a:xfrm>
              <a:off x="2064571" y="4361708"/>
              <a:ext cx="872509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1, 2, 3</a:t>
              </a:r>
            </a:p>
            <a:p>
              <a:pPr algn="ctr"/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лист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A8E76355-58D0-4D8D-3844-08A68DA25941}"/>
                </a:ext>
              </a:extLst>
            </p:cNvPr>
            <p:cNvSpPr txBox="1"/>
            <p:nvPr/>
          </p:nvSpPr>
          <p:spPr>
            <a:xfrm>
              <a:off x="2846805" y="4361708"/>
              <a:ext cx="872509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Начало</a:t>
              </a:r>
            </a:p>
            <a:p>
              <a:pPr algn="ctr"/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кущения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76A05FD3-D83C-FED8-E9E7-28E8BEEA82BD}"/>
                </a:ext>
              </a:extLst>
            </p:cNvPr>
            <p:cNvSpPr txBox="1"/>
            <p:nvPr/>
          </p:nvSpPr>
          <p:spPr>
            <a:xfrm>
              <a:off x="3649376" y="4361708"/>
              <a:ext cx="872509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Конец</a:t>
              </a:r>
            </a:p>
            <a:p>
              <a:pPr algn="ctr"/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кущения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2" name="TextBox 51">
              <a:extLst>
                <a:ext uri="{FF2B5EF4-FFF2-40B4-BE49-F238E27FC236}">
                  <a16:creationId xmlns:a16="http://schemas.microsoft.com/office/drawing/2014/main" id="{5E5367F9-39DE-0B57-B4DE-E9C88C99F1DD}"/>
                </a:ext>
              </a:extLst>
            </p:cNvPr>
            <p:cNvSpPr txBox="1"/>
            <p:nvPr/>
          </p:nvSpPr>
          <p:spPr>
            <a:xfrm>
              <a:off x="4403490" y="4361708"/>
              <a:ext cx="959279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Начало</a:t>
              </a:r>
            </a:p>
            <a:p>
              <a:pPr algn="ctr"/>
              <a:r>
                <a:rPr lang="ru-RU" sz="900" b="1" i="1" dirty="0" err="1">
                  <a:latin typeface="Arial" panose="020B0604020202020204" pitchFamily="34" charset="0"/>
                  <a:cs typeface="Arial" panose="020B0604020202020204" pitchFamily="34" charset="0"/>
                </a:rPr>
                <a:t>трубкования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AB96206E-E941-0CE5-2B62-D252E0F060D5}"/>
                </a:ext>
              </a:extLst>
            </p:cNvPr>
            <p:cNvSpPr txBox="1"/>
            <p:nvPr/>
          </p:nvSpPr>
          <p:spPr>
            <a:xfrm>
              <a:off x="5256072" y="4361708"/>
              <a:ext cx="925861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1-е</a:t>
              </a:r>
            </a:p>
            <a:p>
              <a:pPr algn="ctr"/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междоузлие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B4F2053B-0F83-A171-5140-D145BB1F021A}"/>
                </a:ext>
              </a:extLst>
            </p:cNvPr>
            <p:cNvSpPr txBox="1"/>
            <p:nvPr/>
          </p:nvSpPr>
          <p:spPr>
            <a:xfrm>
              <a:off x="6059420" y="4361708"/>
              <a:ext cx="925861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2-е</a:t>
              </a:r>
            </a:p>
            <a:p>
              <a:pPr algn="ctr"/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междоузлие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E3F87C4F-0D1C-E78A-95EA-3A27636DF678}"/>
                </a:ext>
              </a:extLst>
            </p:cNvPr>
            <p:cNvSpPr txBox="1"/>
            <p:nvPr/>
          </p:nvSpPr>
          <p:spPr>
            <a:xfrm>
              <a:off x="6828498" y="4361708"/>
              <a:ext cx="925861" cy="507831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Появление</a:t>
              </a:r>
            </a:p>
            <a:p>
              <a:pPr algn="ctr"/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флагового</a:t>
              </a:r>
            </a:p>
            <a:p>
              <a:pPr algn="ctr"/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листа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A5D40560-FB38-1610-A3EE-A31559801C32}"/>
                </a:ext>
              </a:extLst>
            </p:cNvPr>
            <p:cNvSpPr txBox="1"/>
            <p:nvPr/>
          </p:nvSpPr>
          <p:spPr>
            <a:xfrm>
              <a:off x="7631846" y="4361708"/>
              <a:ext cx="925861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Флаговый</a:t>
              </a:r>
            </a:p>
            <a:p>
              <a:pPr algn="ctr"/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лист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CE40A926-85EF-697B-6111-BAA2F252A0C0}"/>
                </a:ext>
              </a:extLst>
            </p:cNvPr>
            <p:cNvSpPr txBox="1"/>
            <p:nvPr/>
          </p:nvSpPr>
          <p:spPr>
            <a:xfrm>
              <a:off x="8465257" y="4361708"/>
              <a:ext cx="925861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Начало</a:t>
              </a:r>
            </a:p>
            <a:p>
              <a:pPr algn="ctr"/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колошения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1DA52FA0-F68C-A29F-0B9F-4919CB7B9D27}"/>
                </a:ext>
              </a:extLst>
            </p:cNvPr>
            <p:cNvSpPr txBox="1"/>
            <p:nvPr/>
          </p:nvSpPr>
          <p:spPr>
            <a:xfrm>
              <a:off x="9205124" y="4361708"/>
              <a:ext cx="925861" cy="2308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Колошение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C19FA89B-5E66-DD30-F695-A91A747205FD}"/>
                </a:ext>
              </a:extLst>
            </p:cNvPr>
            <p:cNvSpPr txBox="1"/>
            <p:nvPr/>
          </p:nvSpPr>
          <p:spPr>
            <a:xfrm>
              <a:off x="10038535" y="4361708"/>
              <a:ext cx="925861" cy="2308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Цветение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69C19AE9-60DA-00D3-0E34-A9F4819B1CEC}"/>
                </a:ext>
              </a:extLst>
            </p:cNvPr>
            <p:cNvSpPr txBox="1"/>
            <p:nvPr/>
          </p:nvSpPr>
          <p:spPr>
            <a:xfrm>
              <a:off x="10834583" y="4361708"/>
              <a:ext cx="925861" cy="507831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Молочно-</a:t>
              </a:r>
              <a:b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восковая</a:t>
              </a:r>
            </a:p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спелость</a:t>
              </a:r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E1284886-AFCB-E954-5FD7-925B5761AD29}"/>
              </a:ext>
            </a:extLst>
          </p:cNvPr>
          <p:cNvSpPr txBox="1"/>
          <p:nvPr/>
        </p:nvSpPr>
        <p:spPr>
          <a:xfrm>
            <a:off x="455977" y="4827364"/>
            <a:ext cx="111983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1600" b="1" dirty="0">
                <a:solidFill>
                  <a:srgbClr val="66B51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лучае необходимости, возможны баковые смеси:</a:t>
            </a:r>
            <a:endParaRPr lang="ru-RU" altLang="ru-RU" sz="1600" dirty="0"/>
          </a:p>
        </p:txBody>
      </p: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ABBF4AA4-D63B-23CB-325F-7CF973DB675B}"/>
              </a:ext>
            </a:extLst>
          </p:cNvPr>
          <p:cNvGrpSpPr/>
          <p:nvPr/>
        </p:nvGrpSpPr>
        <p:grpSpPr>
          <a:xfrm>
            <a:off x="7877615" y="5331166"/>
            <a:ext cx="1961495" cy="842215"/>
            <a:chOff x="7545818" y="5232310"/>
            <a:chExt cx="1961495" cy="842215"/>
          </a:xfrm>
        </p:grpSpPr>
        <p:pic>
          <p:nvPicPr>
            <p:cNvPr id="72" name="Рисунок 71">
              <a:extLst>
                <a:ext uri="{FF2B5EF4-FFF2-40B4-BE49-F238E27FC236}">
                  <a16:creationId xmlns:a16="http://schemas.microsoft.com/office/drawing/2014/main" id="{56AB223F-4BDA-F7EE-1D06-3A840C11F35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8698738" y="5248956"/>
              <a:ext cx="808575" cy="808575"/>
            </a:xfrm>
            <a:prstGeom prst="rect">
              <a:avLst/>
            </a:prstGeom>
          </p:spPr>
        </p:pic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E7B982E9-EBC6-8CB7-6A79-75A450D12873}"/>
                </a:ext>
              </a:extLst>
            </p:cNvPr>
            <p:cNvSpPr txBox="1"/>
            <p:nvPr/>
          </p:nvSpPr>
          <p:spPr>
            <a:xfrm>
              <a:off x="8372221" y="5486588"/>
              <a:ext cx="33374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endParaRPr lang="ru-RU" sz="2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5" name="Рисунок 74">
              <a:extLst>
                <a:ext uri="{FF2B5EF4-FFF2-40B4-BE49-F238E27FC236}">
                  <a16:creationId xmlns:a16="http://schemas.microsoft.com/office/drawing/2014/main" id="{D5478DEB-D505-62BB-4A24-DBA177827E4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545818" y="5232310"/>
              <a:ext cx="842215" cy="842215"/>
            </a:xfrm>
            <a:prstGeom prst="rect">
              <a:avLst/>
            </a:prstGeom>
          </p:spPr>
        </p:pic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BEAC2208-6CA7-86A6-B00C-2A7608363C78}"/>
              </a:ext>
            </a:extLst>
          </p:cNvPr>
          <p:cNvGrpSpPr/>
          <p:nvPr/>
        </p:nvGrpSpPr>
        <p:grpSpPr>
          <a:xfrm>
            <a:off x="5098851" y="5314172"/>
            <a:ext cx="2191747" cy="855862"/>
            <a:chOff x="4615036" y="5215316"/>
            <a:chExt cx="2191747" cy="855862"/>
          </a:xfrm>
        </p:grpSpPr>
        <p:pic>
          <p:nvPicPr>
            <p:cNvPr id="76" name="Рисунок 75">
              <a:extLst>
                <a:ext uri="{FF2B5EF4-FFF2-40B4-BE49-F238E27FC236}">
                  <a16:creationId xmlns:a16="http://schemas.microsoft.com/office/drawing/2014/main" id="{F9997B4F-1BE4-9201-FC0F-37FE6C37FAF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615036" y="5215316"/>
              <a:ext cx="842215" cy="842215"/>
            </a:xfrm>
            <a:prstGeom prst="rect">
              <a:avLst/>
            </a:prstGeom>
          </p:spPr>
        </p:pic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87D5D12F-194C-82D3-8CCF-BF026B3298D6}"/>
                </a:ext>
              </a:extLst>
            </p:cNvPr>
            <p:cNvSpPr txBox="1"/>
            <p:nvPr/>
          </p:nvSpPr>
          <p:spPr>
            <a:xfrm>
              <a:off x="5452817" y="5486588"/>
              <a:ext cx="33374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endParaRPr lang="ru-RU" sz="2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8" name="Рисунок 77">
              <a:extLst>
                <a:ext uri="{FF2B5EF4-FFF2-40B4-BE49-F238E27FC236}">
                  <a16:creationId xmlns:a16="http://schemas.microsoft.com/office/drawing/2014/main" id="{63304708-AF0C-6770-BFC1-E979BDA71CE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758798" y="5228963"/>
              <a:ext cx="842215" cy="842215"/>
            </a:xfrm>
            <a:prstGeom prst="rect">
              <a:avLst/>
            </a:prstGeom>
          </p:spPr>
        </p:pic>
        <p:sp>
          <p:nvSpPr>
            <p:cNvPr id="86" name="TextBox 85">
              <a:extLst>
                <a:ext uri="{FF2B5EF4-FFF2-40B4-BE49-F238E27FC236}">
                  <a16:creationId xmlns:a16="http://schemas.microsoft.com/office/drawing/2014/main" id="{E31E5E80-96DA-0E43-5846-97150BD3CA1C}"/>
                </a:ext>
              </a:extLst>
            </p:cNvPr>
            <p:cNvSpPr txBox="1"/>
            <p:nvPr/>
          </p:nvSpPr>
          <p:spPr>
            <a:xfrm>
              <a:off x="6551585" y="5476845"/>
              <a:ext cx="25519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000" dirty="0">
                  <a:latin typeface="Arial" panose="020B0604020202020204" pitchFamily="34" charset="0"/>
                  <a:cs typeface="Arial" panose="020B0604020202020204" pitchFamily="34" charset="0"/>
                </a:rPr>
                <a:t>;</a:t>
              </a:r>
            </a:p>
          </p:txBody>
        </p:sp>
      </p:grpSp>
      <p:sp>
        <p:nvSpPr>
          <p:cNvPr id="2" name="TextBox 1">
            <a:extLst>
              <a:ext uri="{FF2B5EF4-FFF2-40B4-BE49-F238E27FC236}">
                <a16:creationId xmlns:a16="http://schemas.microsoft.com/office/drawing/2014/main" id="{28E06548-ED88-8528-4F6C-C80C80F0F2CC}"/>
              </a:ext>
            </a:extLst>
          </p:cNvPr>
          <p:cNvSpPr txBox="1"/>
          <p:nvPr/>
        </p:nvSpPr>
        <p:spPr>
          <a:xfrm>
            <a:off x="3080078" y="6274615"/>
            <a:ext cx="60318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В каждом конкретном случае необходима проверка совместимости компонентов</a:t>
            </a:r>
          </a:p>
        </p:txBody>
      </p:sp>
      <p:grpSp>
        <p:nvGrpSpPr>
          <p:cNvPr id="28" name="Группа 27">
            <a:extLst>
              <a:ext uri="{FF2B5EF4-FFF2-40B4-BE49-F238E27FC236}">
                <a16:creationId xmlns:a16="http://schemas.microsoft.com/office/drawing/2014/main" id="{1A0414AC-C7CF-0F53-D95C-F89C13102B03}"/>
              </a:ext>
            </a:extLst>
          </p:cNvPr>
          <p:cNvGrpSpPr/>
          <p:nvPr/>
        </p:nvGrpSpPr>
        <p:grpSpPr>
          <a:xfrm>
            <a:off x="2269674" y="5314172"/>
            <a:ext cx="2194456" cy="843363"/>
            <a:chOff x="2269674" y="5215316"/>
            <a:chExt cx="2194456" cy="843363"/>
          </a:xfrm>
        </p:grpSpPr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9148B8DC-FA13-ED54-04B1-46333C1518D0}"/>
                </a:ext>
              </a:extLst>
            </p:cNvPr>
            <p:cNvSpPr txBox="1"/>
            <p:nvPr/>
          </p:nvSpPr>
          <p:spPr>
            <a:xfrm>
              <a:off x="3094141" y="5499331"/>
              <a:ext cx="33374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endParaRPr lang="ru-RU" sz="2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1" name="Рисунок 70">
              <a:extLst>
                <a:ext uri="{FF2B5EF4-FFF2-40B4-BE49-F238E27FC236}">
                  <a16:creationId xmlns:a16="http://schemas.microsoft.com/office/drawing/2014/main" id="{6BE88728-F701-04D9-8B58-37E6FD12D20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425163" y="5216464"/>
              <a:ext cx="842215" cy="842215"/>
            </a:xfrm>
            <a:prstGeom prst="rect">
              <a:avLst/>
            </a:prstGeom>
          </p:spPr>
        </p:pic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86BB11F8-D30A-A193-2130-471A80E8639C}"/>
                </a:ext>
              </a:extLst>
            </p:cNvPr>
            <p:cNvSpPr txBox="1"/>
            <p:nvPr/>
          </p:nvSpPr>
          <p:spPr>
            <a:xfrm>
              <a:off x="4208932" y="5468886"/>
              <a:ext cx="25519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000" dirty="0">
                  <a:latin typeface="Arial" panose="020B0604020202020204" pitchFamily="34" charset="0"/>
                  <a:cs typeface="Arial" panose="020B0604020202020204" pitchFamily="34" charset="0"/>
                </a:rPr>
                <a:t>;</a:t>
              </a:r>
            </a:p>
          </p:txBody>
        </p:sp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B0FE5A9F-4FA7-341A-3731-094593D4426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269674" y="5215316"/>
              <a:ext cx="843363" cy="84336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5702364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32FCF7D9-13CB-C1FA-3FFC-053982980E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5263" y="6361113"/>
            <a:ext cx="393700" cy="109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fld id="{71347FC8-277F-664C-9A52-D45A73C0EE9F}" type="slidenum">
              <a:rPr lang="ru-RU" altLang="ru-RU" sz="1800"/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t>9</a:t>
            </a:fld>
            <a:endParaRPr lang="ru-RU" altLang="ru-RU" sz="1800"/>
          </a:p>
        </p:txBody>
      </p:sp>
      <p:pic>
        <p:nvPicPr>
          <p:cNvPr id="6" name="Рисунок 8">
            <a:extLst>
              <a:ext uri="{FF2B5EF4-FFF2-40B4-BE49-F238E27FC236}">
                <a16:creationId xmlns:a16="http://schemas.microsoft.com/office/drawing/2014/main" id="{D056EC2F-172B-D18D-274C-425C1EA9F54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8275" y="809625"/>
            <a:ext cx="162560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17">
            <a:extLst>
              <a:ext uri="{FF2B5EF4-FFF2-40B4-BE49-F238E27FC236}">
                <a16:creationId xmlns:a16="http://schemas.microsoft.com/office/drawing/2014/main" id="{7BDAC366-8B4A-7042-41E2-F881ED089CE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591374" y="1181100"/>
            <a:ext cx="164160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2400" b="1" dirty="0">
                <a:solidFill>
                  <a:srgbClr val="10384F"/>
                </a:solidFill>
                <a:latin typeface="Arial" panose="020B0604020202020204" pitchFamily="34" charset="0"/>
                <a:ea typeface="Helvetica Neue" panose="02000503000000020004" pitchFamily="2" charset="0"/>
                <a:cs typeface="Arial" panose="020B0604020202020204" pitchFamily="34" charset="0"/>
              </a:rPr>
              <a:t>на горохе</a:t>
            </a:r>
            <a:endParaRPr lang="ru-RU" altLang="ru-RU" sz="2400" dirty="0">
              <a:solidFill>
                <a:srgbClr val="10384F"/>
              </a:solidFill>
              <a:ea typeface="Helvetica Neue" panose="02000503000000020004" pitchFamily="2" charset="0"/>
              <a:cs typeface="Arial" panose="020B0604020202020204" pitchFamily="34" charset="0"/>
            </a:endParaRPr>
          </a:p>
        </p:txBody>
      </p:sp>
      <p:sp>
        <p:nvSpPr>
          <p:cNvPr id="8" name="TextBox 18">
            <a:extLst>
              <a:ext uri="{FF2B5EF4-FFF2-40B4-BE49-F238E27FC236}">
                <a16:creationId xmlns:a16="http://schemas.microsoft.com/office/drawing/2014/main" id="{DF20BC13-7FD3-7AA2-6CF3-09D70F1E3B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468438" y="706438"/>
            <a:ext cx="6473439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ptos" panose="020B00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ptos" panose="020B00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ptos" panose="020B0004020202020204" pitchFamily="34" charset="0"/>
              </a:defRPr>
            </a:lvl9pPr>
          </a:lstStyle>
          <a:p>
            <a:pPr eaLnBrk="1" hangingPunct="1"/>
            <a:r>
              <a:rPr lang="ru-RU" altLang="ru-RU" sz="3200" i="1" dirty="0">
                <a:solidFill>
                  <a:srgbClr val="10384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Регламент применения </a:t>
            </a:r>
            <a:r>
              <a:rPr lang="ru-RU" altLang="ru-RU" sz="3200" i="1" dirty="0" err="1">
                <a:solidFill>
                  <a:srgbClr val="10384F"/>
                </a:solidFill>
                <a:latin typeface="Arial" panose="020B0604020202020204" pitchFamily="34" charset="0"/>
                <a:ea typeface="Helvetica Neue Light" panose="02000403000000020004" pitchFamily="2" charset="0"/>
                <a:cs typeface="Arial" panose="020B0604020202020204" pitchFamily="34" charset="0"/>
              </a:rPr>
              <a:t>Гербикс</a:t>
            </a:r>
            <a:endParaRPr lang="ru-RU" altLang="ru-RU" sz="3200" i="1" dirty="0">
              <a:solidFill>
                <a:srgbClr val="10384F"/>
              </a:solidFill>
              <a:latin typeface="Arial" panose="020B0604020202020204" pitchFamily="34" charset="0"/>
              <a:ea typeface="Helvetica Neue Light" panose="02000403000000020004" pitchFamily="2" charset="0"/>
              <a:cs typeface="Arial" panose="020B0604020202020204" pitchFamily="34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E56EA784-BBC0-EC6A-57D1-79443038A88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24574" y="1876178"/>
            <a:ext cx="10542851" cy="2313728"/>
          </a:xfrm>
          <a:prstGeom prst="rect">
            <a:avLst/>
          </a:prstGeom>
        </p:spPr>
      </p:pic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CB88C681-E460-96ED-0B61-C05FA139BF71}"/>
              </a:ext>
            </a:extLst>
          </p:cNvPr>
          <p:cNvGrpSpPr/>
          <p:nvPr/>
        </p:nvGrpSpPr>
        <p:grpSpPr>
          <a:xfrm>
            <a:off x="1837262" y="2184164"/>
            <a:ext cx="7583774" cy="2590707"/>
            <a:chOff x="1837262" y="2259819"/>
            <a:chExt cx="7583774" cy="1787280"/>
          </a:xfrm>
        </p:grpSpPr>
        <p:cxnSp>
          <p:nvCxnSpPr>
            <p:cNvPr id="11" name="Прямая соединительная линия 10">
              <a:extLst>
                <a:ext uri="{FF2B5EF4-FFF2-40B4-BE49-F238E27FC236}">
                  <a16:creationId xmlns:a16="http://schemas.microsoft.com/office/drawing/2014/main" id="{D361D0DA-0868-17B5-1036-90236EEA53C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019220" y="2259819"/>
              <a:ext cx="0" cy="178728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>
              <a:extLst>
                <a:ext uri="{FF2B5EF4-FFF2-40B4-BE49-F238E27FC236}">
                  <a16:creationId xmlns:a16="http://schemas.microsoft.com/office/drawing/2014/main" id="{3FCA14F5-A284-824D-DAED-838B7B10E98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09472" y="2259819"/>
              <a:ext cx="0" cy="178728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Прямая соединительная линия 13">
              <a:extLst>
                <a:ext uri="{FF2B5EF4-FFF2-40B4-BE49-F238E27FC236}">
                  <a16:creationId xmlns:a16="http://schemas.microsoft.com/office/drawing/2014/main" id="{1BEC22AC-EEE2-53C6-5A39-A8EEF0C717B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37262" y="2259819"/>
              <a:ext cx="0" cy="178728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Прямая соединительная линия 14">
              <a:extLst>
                <a:ext uri="{FF2B5EF4-FFF2-40B4-BE49-F238E27FC236}">
                  <a16:creationId xmlns:a16="http://schemas.microsoft.com/office/drawing/2014/main" id="{A60DD6D0-7E81-6BBA-0976-B0C828B0F400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06198" y="2259819"/>
              <a:ext cx="0" cy="178728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id="{A9BEB1B6-CE29-A3FE-3260-8DA0977BE8D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59945" y="2259819"/>
              <a:ext cx="0" cy="178728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Прямая соединительная линия 16">
              <a:extLst>
                <a:ext uri="{FF2B5EF4-FFF2-40B4-BE49-F238E27FC236}">
                  <a16:creationId xmlns:a16="http://schemas.microsoft.com/office/drawing/2014/main" id="{6B3AE753-B035-6101-496D-B5D918B634A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16238" y="2259819"/>
              <a:ext cx="0" cy="178728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единительная линия 18">
              <a:extLst>
                <a:ext uri="{FF2B5EF4-FFF2-40B4-BE49-F238E27FC236}">
                  <a16:creationId xmlns:a16="http://schemas.microsoft.com/office/drawing/2014/main" id="{3B55833D-4D76-10EA-AF0F-7A2782BADC1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421036" y="2259819"/>
              <a:ext cx="0" cy="178728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единительная линия 19">
              <a:extLst>
                <a:ext uri="{FF2B5EF4-FFF2-40B4-BE49-F238E27FC236}">
                  <a16:creationId xmlns:a16="http://schemas.microsoft.com/office/drawing/2014/main" id="{331F0986-89CE-54F1-CF4E-EED71276900D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454477" y="2259819"/>
              <a:ext cx="0" cy="1787280"/>
            </a:xfrm>
            <a:prstGeom prst="line">
              <a:avLst/>
            </a:prstGeom>
            <a:ln w="6350"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F0D230A0-4A7A-4244-2CC4-8072C9E07470}"/>
              </a:ext>
            </a:extLst>
          </p:cNvPr>
          <p:cNvGrpSpPr/>
          <p:nvPr/>
        </p:nvGrpSpPr>
        <p:grpSpPr>
          <a:xfrm>
            <a:off x="824574" y="4204200"/>
            <a:ext cx="9794088" cy="646331"/>
            <a:chOff x="824574" y="3974402"/>
            <a:chExt cx="9794088" cy="646331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9F94A648-7B5E-A04B-B16F-E779293D8D1F}"/>
                </a:ext>
              </a:extLst>
            </p:cNvPr>
            <p:cNvSpPr txBox="1"/>
            <p:nvPr/>
          </p:nvSpPr>
          <p:spPr>
            <a:xfrm>
              <a:off x="824574" y="3974402"/>
              <a:ext cx="1012688" cy="2308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До сева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676B6EEE-708B-BAA8-8798-B723DFC2F294}"/>
                </a:ext>
              </a:extLst>
            </p:cNvPr>
            <p:cNvSpPr txBox="1"/>
            <p:nvPr/>
          </p:nvSpPr>
          <p:spPr>
            <a:xfrm>
              <a:off x="1806875" y="3974402"/>
              <a:ext cx="1154648" cy="507831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Видна пара</a:t>
              </a:r>
            </a:p>
            <a:p>
              <a:pPr algn="ctr"/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чешуеобразных</a:t>
              </a:r>
              <a:b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листьев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4F10FCD8-76D9-3D09-E53F-0043314BA28F}"/>
                </a:ext>
              </a:extLst>
            </p:cNvPr>
            <p:cNvSpPr txBox="1"/>
            <p:nvPr/>
          </p:nvSpPr>
          <p:spPr>
            <a:xfrm>
              <a:off x="3019220" y="3974402"/>
              <a:ext cx="872509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1 — 3</a:t>
              </a:r>
              <a:b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листа</a:t>
              </a:r>
              <a:endParaRPr lang="ru-RU" sz="900" b="1" dirty="0">
                <a:effectLst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90A685A-096E-CFBD-A881-D93125069169}"/>
                </a:ext>
              </a:extLst>
            </p:cNvPr>
            <p:cNvSpPr txBox="1"/>
            <p:nvPr/>
          </p:nvSpPr>
          <p:spPr>
            <a:xfrm>
              <a:off x="3917658" y="3974402"/>
              <a:ext cx="1197626" cy="646331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Удлинение</a:t>
              </a:r>
            </a:p>
            <a:p>
              <a:pPr algn="ctr"/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основного стебля, боковое</a:t>
              </a:r>
              <a:b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900" b="1" i="1" dirty="0">
                  <a:latin typeface="Arial" panose="020B0604020202020204" pitchFamily="34" charset="0"/>
                  <a:cs typeface="Arial" panose="020B0604020202020204" pitchFamily="34" charset="0"/>
                </a:rPr>
                <a:t>ветвление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13FA78D0-CD51-434A-47F4-AEC66DD3602A}"/>
                </a:ext>
              </a:extLst>
            </p:cNvPr>
            <p:cNvSpPr txBox="1"/>
            <p:nvPr/>
          </p:nvSpPr>
          <p:spPr>
            <a:xfrm>
              <a:off x="5076659" y="3974402"/>
              <a:ext cx="1197626" cy="2308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Бутонизация</a:t>
              </a:r>
              <a:endParaRPr lang="ru-RU" sz="900" b="1" i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139F9E63-AAFE-24C0-2CDF-0F37D76DCA0E}"/>
                </a:ext>
              </a:extLst>
            </p:cNvPr>
            <p:cNvSpPr txBox="1"/>
            <p:nvPr/>
          </p:nvSpPr>
          <p:spPr>
            <a:xfrm>
              <a:off x="6156389" y="3974402"/>
              <a:ext cx="1197626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Начало</a:t>
              </a:r>
              <a:b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цветения</a:t>
              </a:r>
              <a:endParaRPr lang="ru-RU" sz="900" b="1" i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DD498E53-8B00-EAC6-1CC5-B4D395F79DB7}"/>
                </a:ext>
              </a:extLst>
            </p:cNvPr>
            <p:cNvSpPr txBox="1"/>
            <p:nvPr/>
          </p:nvSpPr>
          <p:spPr>
            <a:xfrm>
              <a:off x="7244811" y="3974402"/>
              <a:ext cx="1197626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Полное</a:t>
              </a:r>
              <a:b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цветение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93C63E89-91C7-23FB-7EBE-71844A14A912}"/>
                </a:ext>
              </a:extLst>
            </p:cNvPr>
            <p:cNvSpPr txBox="1"/>
            <p:nvPr/>
          </p:nvSpPr>
          <p:spPr>
            <a:xfrm>
              <a:off x="8338044" y="3974402"/>
              <a:ext cx="1197626" cy="369332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Конец</a:t>
              </a:r>
              <a:b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цветения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68984956-DCC4-D1E8-DD7C-5C0686C58E7A}"/>
                </a:ext>
              </a:extLst>
            </p:cNvPr>
            <p:cNvSpPr txBox="1"/>
            <p:nvPr/>
          </p:nvSpPr>
          <p:spPr>
            <a:xfrm>
              <a:off x="9421036" y="3974402"/>
              <a:ext cx="1197626" cy="507831"/>
            </a:xfrm>
            <a:prstGeom prst="rect">
              <a:avLst/>
            </a:prstGeom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Окончание</a:t>
              </a:r>
              <a:b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формирования</a:t>
              </a:r>
              <a:b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900" b="1" i="1" dirty="0">
                  <a:effectLst/>
                  <a:latin typeface="Arial" panose="020B0604020202020204" pitchFamily="34" charset="0"/>
                  <a:cs typeface="Arial" panose="020B0604020202020204" pitchFamily="34" charset="0"/>
                </a:rPr>
                <a:t>бобов</a:t>
              </a:r>
            </a:p>
          </p:txBody>
        </p:sp>
      </p:grpSp>
      <p:sp>
        <p:nvSpPr>
          <p:cNvPr id="61" name="TextBox 60">
            <a:extLst>
              <a:ext uri="{FF2B5EF4-FFF2-40B4-BE49-F238E27FC236}">
                <a16:creationId xmlns:a16="http://schemas.microsoft.com/office/drawing/2014/main" id="{F230375A-0B34-8AC1-DAFA-FE8E043D6262}"/>
              </a:ext>
            </a:extLst>
          </p:cNvPr>
          <p:cNvSpPr txBox="1"/>
          <p:nvPr/>
        </p:nvSpPr>
        <p:spPr bwMode="gray">
          <a:xfrm>
            <a:off x="3737524" y="1448757"/>
            <a:ext cx="1584624" cy="7725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12180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3 — 5</a:t>
            </a:r>
          </a:p>
          <a:p>
            <a:pPr marL="0" marR="0" lvl="0" indent="0" algn="ctr" defTabSz="12180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листьев</a:t>
            </a:r>
            <a:br>
              <a:rPr kumimoji="0" lang="ru-RU" sz="13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</a:br>
            <a:endParaRPr kumimoji="0" lang="ru-RU" sz="1300" b="1" i="1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cs typeface="Arial"/>
            </a:endParaRPr>
          </a:p>
          <a:p>
            <a:pPr marL="0" marR="0" lvl="0" indent="0" algn="ctr" defTabSz="1218036" rtl="0" eaLnBrk="1" fontAlgn="auto" latinLnBrk="0" hangingPunct="1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1" i="1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cs typeface="Arial"/>
              </a:rPr>
              <a:t>0,5 — 0,8 л/га</a:t>
            </a:r>
          </a:p>
        </p:txBody>
      </p:sp>
      <p:grpSp>
        <p:nvGrpSpPr>
          <p:cNvPr id="64" name="Группа 63">
            <a:extLst>
              <a:ext uri="{FF2B5EF4-FFF2-40B4-BE49-F238E27FC236}">
                <a16:creationId xmlns:a16="http://schemas.microsoft.com/office/drawing/2014/main" id="{C51FFFCA-4A5E-0A02-8B1A-A5DE6D79D800}"/>
              </a:ext>
            </a:extLst>
          </p:cNvPr>
          <p:cNvGrpSpPr/>
          <p:nvPr/>
        </p:nvGrpSpPr>
        <p:grpSpPr>
          <a:xfrm>
            <a:off x="3959024" y="1448758"/>
            <a:ext cx="1146253" cy="2728702"/>
            <a:chOff x="3959024" y="2313646"/>
            <a:chExt cx="1146253" cy="1965339"/>
          </a:xfrm>
        </p:grpSpPr>
        <p:cxnSp>
          <p:nvCxnSpPr>
            <p:cNvPr id="62" name="Прямая соединительная линия 61">
              <a:extLst>
                <a:ext uri="{FF2B5EF4-FFF2-40B4-BE49-F238E27FC236}">
                  <a16:creationId xmlns:a16="http://schemas.microsoft.com/office/drawing/2014/main" id="{B6825F6C-9306-47C3-7658-1C6CD859EAC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105277" y="2313646"/>
              <a:ext cx="0" cy="1965339"/>
            </a:xfrm>
            <a:prstGeom prst="line">
              <a:avLst/>
            </a:prstGeom>
            <a:ln w="19050">
              <a:solidFill>
                <a:srgbClr val="00B05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Прямая соединительная линия 62">
              <a:extLst>
                <a:ext uri="{FF2B5EF4-FFF2-40B4-BE49-F238E27FC236}">
                  <a16:creationId xmlns:a16="http://schemas.microsoft.com/office/drawing/2014/main" id="{CBB8598A-F951-0116-BF66-B305C64DCAD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3959024" y="2313646"/>
              <a:ext cx="0" cy="1965339"/>
            </a:xfrm>
            <a:prstGeom prst="line">
              <a:avLst/>
            </a:prstGeom>
            <a:ln w="19050">
              <a:solidFill>
                <a:srgbClr val="00B050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AFBDB951-DA5D-F46B-111A-A788327F1569}"/>
              </a:ext>
            </a:extLst>
          </p:cNvPr>
          <p:cNvGrpSpPr/>
          <p:nvPr/>
        </p:nvGrpSpPr>
        <p:grpSpPr>
          <a:xfrm>
            <a:off x="3446726" y="5339456"/>
            <a:ext cx="2516862" cy="843363"/>
            <a:chOff x="4769708" y="5312526"/>
            <a:chExt cx="2516862" cy="843363"/>
          </a:xfrm>
        </p:grpSpPr>
        <p:pic>
          <p:nvPicPr>
            <p:cNvPr id="66" name="Рисунок 65">
              <a:extLst>
                <a:ext uri="{FF2B5EF4-FFF2-40B4-BE49-F238E27FC236}">
                  <a16:creationId xmlns:a16="http://schemas.microsoft.com/office/drawing/2014/main" id="{C83237CF-D2E8-802A-4CA0-860AA3DD2BC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769708" y="5312526"/>
              <a:ext cx="843363" cy="843363"/>
            </a:xfrm>
            <a:prstGeom prst="rect">
              <a:avLst/>
            </a:prstGeom>
          </p:spPr>
        </p:pic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7D450D09-623B-454F-1313-A4A294FDF284}"/>
                </a:ext>
              </a:extLst>
            </p:cNvPr>
            <p:cNvSpPr txBox="1"/>
            <p:nvPr/>
          </p:nvSpPr>
          <p:spPr>
            <a:xfrm>
              <a:off x="5614242" y="5504480"/>
              <a:ext cx="33374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endParaRPr lang="ru-RU" sz="2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5534CBD6-DA0A-37EB-4FA7-496E799BB008}"/>
                </a:ext>
              </a:extLst>
            </p:cNvPr>
            <p:cNvSpPr txBox="1"/>
            <p:nvPr/>
          </p:nvSpPr>
          <p:spPr>
            <a:xfrm>
              <a:off x="5846752" y="5506291"/>
              <a:ext cx="1439818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800" dirty="0" err="1">
                  <a:latin typeface="Arial" panose="020B0604020202020204" pitchFamily="34" charset="0"/>
                  <a:cs typeface="Arial" panose="020B0604020202020204" pitchFamily="34" charset="0"/>
                </a:rPr>
                <a:t>Имазамокс</a:t>
              </a:r>
              <a:r>
                <a:rPr lang="en-US" sz="1800" dirty="0">
                  <a:latin typeface="Arial" panose="020B0604020202020204" pitchFamily="34" charset="0"/>
                  <a:cs typeface="Arial" panose="020B0604020202020204" pitchFamily="34" charset="0"/>
                </a:rPr>
                <a:t>;</a:t>
              </a:r>
              <a:endParaRPr lang="ru-RU" dirty="0"/>
            </a:p>
          </p:txBody>
        </p:sp>
      </p:grpSp>
      <p:sp>
        <p:nvSpPr>
          <p:cNvPr id="75" name="TextBox 74">
            <a:extLst>
              <a:ext uri="{FF2B5EF4-FFF2-40B4-BE49-F238E27FC236}">
                <a16:creationId xmlns:a16="http://schemas.microsoft.com/office/drawing/2014/main" id="{3D882A11-2288-CC59-EC9C-A0E6DDFCAD2A}"/>
              </a:ext>
            </a:extLst>
          </p:cNvPr>
          <p:cNvSpPr txBox="1"/>
          <p:nvPr/>
        </p:nvSpPr>
        <p:spPr>
          <a:xfrm>
            <a:off x="3080078" y="6274615"/>
            <a:ext cx="603184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*В каждом конкретном случае необходима проверка совместимости компонентов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1F3B0A6-B6FA-9513-1C4E-FB9816B970F4}"/>
              </a:ext>
            </a:extLst>
          </p:cNvPr>
          <p:cNvSpPr txBox="1"/>
          <p:nvPr/>
        </p:nvSpPr>
        <p:spPr>
          <a:xfrm>
            <a:off x="455977" y="4909106"/>
            <a:ext cx="111983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altLang="ru-RU" sz="1600" b="1" dirty="0">
                <a:solidFill>
                  <a:srgbClr val="66B51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лучае необходимости, возможны баковые смеси:</a:t>
            </a:r>
            <a:endParaRPr lang="ru-RU" altLang="ru-RU" sz="1600" dirty="0"/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E78E54BB-EE5D-20C6-6D05-7790F4C668CC}"/>
              </a:ext>
            </a:extLst>
          </p:cNvPr>
          <p:cNvGrpSpPr/>
          <p:nvPr/>
        </p:nvGrpSpPr>
        <p:grpSpPr>
          <a:xfrm>
            <a:off x="6383806" y="5339456"/>
            <a:ext cx="2226718" cy="843363"/>
            <a:chOff x="4769708" y="5312526"/>
            <a:chExt cx="2226718" cy="843363"/>
          </a:xfrm>
        </p:grpSpPr>
        <p:pic>
          <p:nvPicPr>
            <p:cNvPr id="4" name="Рисунок 3">
              <a:extLst>
                <a:ext uri="{FF2B5EF4-FFF2-40B4-BE49-F238E27FC236}">
                  <a16:creationId xmlns:a16="http://schemas.microsoft.com/office/drawing/2014/main" id="{C026C9DE-4825-CC4A-9D69-FA77F805F19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769708" y="5312526"/>
              <a:ext cx="843363" cy="843363"/>
            </a:xfrm>
            <a:prstGeom prst="rect">
              <a:avLst/>
            </a:prstGeom>
          </p:spPr>
        </p:pic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B8BCD8E4-1BCB-14EB-9E63-DFB95877274D}"/>
                </a:ext>
              </a:extLst>
            </p:cNvPr>
            <p:cNvSpPr txBox="1"/>
            <p:nvPr/>
          </p:nvSpPr>
          <p:spPr>
            <a:xfrm>
              <a:off x="5614242" y="5504480"/>
              <a:ext cx="333746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2000" dirty="0">
                  <a:latin typeface="Arial" panose="020B0604020202020204" pitchFamily="34" charset="0"/>
                  <a:cs typeface="Arial" panose="020B0604020202020204" pitchFamily="34" charset="0"/>
                </a:rPr>
                <a:t>+</a:t>
              </a:r>
              <a:endParaRPr lang="ru-RU" sz="20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3C158CFD-3073-F105-7894-FA9974296B34}"/>
                </a:ext>
              </a:extLst>
            </p:cNvPr>
            <p:cNvSpPr txBox="1"/>
            <p:nvPr/>
          </p:nvSpPr>
          <p:spPr>
            <a:xfrm>
              <a:off x="5846752" y="5506291"/>
              <a:ext cx="1149674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 err="1"/>
                <a:t>бентазон</a:t>
              </a:r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27633713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/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6udKBeqc7NEo2eMwtOCBFEEAAAAAAADAAAAAAADAAAAAwADAAAAAAD///////8DAAAAAAD///////8DAAEA////////BQAAAAMAEAALl9M+sToDzEGQ5t003RC0VQQAAAABAAMAAAACAAMAAAAEAAQAAQD///////8FAAAABAAQAAs91szWtZVoS6zRq+HThJ3H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q50oF6pzs0SjZ4zC04IEUQNEYXRhABsAAAAETGlua2VkU2hhcGVEYXRhAAUAAAAAAAJOYW1lABkAAABMaW5rZWRTaGFwZXNEYXRhUHJvcGVydHkAEFZlcnNpb24AAAAAAAlMYXN0V3JpdGUA3+O9ZZIBAAAAAQD/////gwCDAAAABV9pZAAQAAAABJfTPrE6A8xBkObdNN0QtFUDRGF0YQAbAAAABExpbmtlZFNoYXBlRGF0YQAFAAAAAAACTmFtZQAZAAAATGlua2VkU2hhcGVzRGF0YVByb3BlcnR5ABBWZXJzaW9uAAEAAAAJTGFzdFdyaXRlACjkvWWSAQAAAAIA/////8YAxgAAAAVfaWQAEAAAAAQ91szWtZVoS6zRq+HThJ3HA0RhdGEAUwAAAAhQcmVzZW50YXRpb25TY2FubmVkRm9yTGlua2VkU2hhcGVzAAACTnVtYmVyRm9ybWF0U2VwYXJhdG9yTW9kZQAKAAAAQXV0b21hdGljAAACTmFtZQAkAAAATGlua2VkU2hhcGVQcmVzZW50YXRpb25TZXR0aW5nc0RhdGEAEFZlcnNpb24AAAAAAAlMYXN0V3JpdGUAL+S9ZZ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VCwAAAAAAAAAAAAAgAf///////////////wAAAP///////////////wUAAAAE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GgAGTGlua2VkU2hhcGVzRGF0YVByb3BlcnR5XzAEAAAAAAAFAAAABAAFAAAAAwAFAAAAAAD///////8FAAAAAAD///////8DAAEBAwAAAAMA////////GgAGTGlua2VkU2hhcGVzRGF0YVByb3BlcnR5XzEEAAAAAQAFAAAAAgAFAAAAAQAEAAEBAwAAAAQA////////JQAGTGlua2VkU2hhcGVQcmVzZW50YXRpb25TZXR0aW5nc0RhdGFfMAQAAAACAAUAAAAA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638805967328017"/>
  <p:tag name="EMPOWERCHARTSPROPERTIES_A_LENGTH" val="2457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gIBAQEBAQEBAQEBAQEBAQMAAAAAAAAAAwAAAAMAAAAA/////wUA2gsAAAAAAAAAAAAAIAD///////////////8AAAD///////////////8DAAAAAgD///////8DAAAABAD///////8DAAAABAD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BAP///////wUAAAACABAAC0wEaRkkBkZOv0tYqEKuuzsEAAAAAAADAAAAAAADAAAAAwADAAEA////////BQAAAAMAEAAL4K/EUzkk20eEPsM8b4dUHQQAAAABAAMAAAACAAMAAAAEAAQABgD///////8FAAAABAAQAAuKLHOKHbz7SpAH/D0R3F1xBAAAAAIAAwAAAAMAAwAAAAEAAwAAAAAA////////AwAAAAAA////////AwAAAAAA////////AwAAAAAA////////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TARpGSQGRk6/S1ioQq67OwREYXRhAAUAAAAAAk5hbWUADQAAAExpbmtEYXRhTGlzdAAQVmVyc2lvbgABAAAACUxhc3RXcml0ZQBcM79lkgEAAAABAP////9hAGEAAAAFX2lkABAAAAAE4K/EUzkk20eEPsM8b4dUHQREYXRhAAUAAAAAAk5hbWUADQAAAExpbmtEYXRhTGlzdAAQVmVyc2lvbgAAAAAACUxhc3RXcml0ZQBXM79lkgEAAAACAP////9wAHAAAAAFX2lkABAAAAAEiixzih28+0qQB/w9EdxdcQNEYXRhABYAAAACUGVyc29uYWxJZAABAAAAAAACTmFtZQALAAAAUGVyc29uYWxJZAAQVmVyc2lvbgAAAAAACUxhc3RXcml0ZQCyM79l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SDAAAAAAAAAAAAAAgAf///////////////wAAAP///////////////wUAAAADAP///////wUAAAAE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IBAwAAAAQA////////DAAGUGVyc29uYWxJZF8wBAAAAAIABQAAAAIABQAAAAEABQ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38806825039537"/>
  <p:tag name="EMPOWERCHARTSPROPERTIES_B_LENGTH" val="24576"/>
  <p:tag name="DOWN_MIGRATION_INITIAL_LAYOUT_REQUIRED" val="9.2.99"/>
  <p:tag name="RUNTIME_ID" val="38874134-dd2b-4e73-bdd2-f9b26aeb66b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/gsAAAAAAAAAAAAAIAD///////////////8AAAD///////////////8DAAAABA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1P5dMoIcdZBuwnHN7ncDsgEAAAAAAADAAAABAADAAAAAwADAAAAAAD///////8DAAAAAAD///////8DAAEA////////BQAAAAMAEAALr4EHz47ZzkGpxotipqG8wgQAAAABAAMAAAACAAMAAAABAAQAAQD///////8FAAAABAAQAAutcbk3esJRQr04lQBj+914BAAAAAIAAwAAAAAAAwAAAAI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U/l0yghx1kG7Ccc3udwOyAREYXRhAAUAAAAAAk5hbWUADQAAAExpbmtEYXRhTGlzdAAQVmVyc2lvbgAAAAAACUxhc3RXcml0ZQBPLb9lkgEAAAABAP////9hAGEAAAAFX2lkABAAAAAEr4EHz47ZzkGpxotipqG8wgREYXRhAAUAAAAAAk5hbWUADQAAAExpbmtEYXRhTGlzdAAQVmVyc2lvbgABAAAACUxhc3RXcml0ZQB1Lb9lkgEAAAACAP////9wAHAAAAAFX2lkABAAAAAErXG5N3rCUUK9OJUAY/vdeANEYXRhABYAAAACUGVyc29uYWxJZAABAAAAAAACTmFtZQALAAAAUGVyc29uYWxJZAAQVmVyc2lvbgAAAAAACUxhc3RXcml0ZQDuLb9l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C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AEAAAAAAAFAAAAAAAFAAAAAwAFAAAAAAD///////8FAAAAAAD///////8DAAEBAwAAAAMA////////DgAGTGlua0RhdGFMaXN0XzEEAAAAAQAFAAAAAgAFAAAABAAEAAEBAwAAAAQA////////DAAGUGVyc29uYWxJZF8wBAAAAAIABQAAAAM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38806810471812"/>
  <p:tag name="EMPOWERCHARTSPROPERTIES_B_LENGTH" val="24576"/>
  <p:tag name="DOWN_MIGRATION_INITIAL_LAYOUT_REQUIRED" val="9.2.99"/>
  <p:tag name="RUNTIME_ID" val="412b196f-3f37-4dc6-b7ef-6d80bd341f1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EBAQEBAQEBAQEBAQEBAQMAAAAAAAAAAwAAAAMAAAAA/////wUA5gsAAAAAAAAAAAAAIAD///////////////8AAAD///////////////8DAAAABAD///////8DAAAABAD///////8D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5/nmEGbLvNGrgqvex+Gk1IEAAAAAAADAAAABAADAAAAAwADAAAABAADAAAAAwADAAIA////////BQAAAAMAEAALwv+7sfcjYkKRrLQ4F8/94gQAAAABAAMAAAACAAMAAAABAAMAAAACAP///////wQAAwD///////8FAAAABAAQAAsnowYvA4biRLDZDoKu69jQBAAAAAIAAwAAAAAAAwAAAAIAAwAAAAAAAwAAAAIAAw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n+eYQZsu80auCq97H4aTUgREYXRhAAUAAAAAAk5hbWUADQAAAExpbmtEYXRhTGlzdAAQVmVyc2lvbgABAAAACUxhc3RXcml0ZQACL79lkgEAAAABAP////9hAGEAAAAFX2lkABAAAAAEwv+7sfcjYkKRrLQ4F8/94gREYXRhAAUAAAAAAk5hbWUADQAAAExpbmtEYXRhTGlzdAAQVmVyc2lvbgAAAAAACUxhc3RXcml0ZQD6Lr9lkgEAAAACAP////9wAHAAAAAFX2lkABAAAAAEJ6MGLwOG4kSw2Q6CruvY0ANEYXRhABYAAAACUGVyc29uYWxJZAABAAAAAAACTmFtZQALAAAAUGVyc29uYWxJZAAQVmVyc2lvbgAAAAAACUxhc3RXcml0ZQCOL79l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eDAAAAAAAAAAAAAAgAf///////////////wAAAP////////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DgAGTGlua0RhdGFMaXN0XzEEAAAAAAAFAAAAAwAFAAAABAADAAEBAwAAAAMA////////DgAGTGlua0RhdGFMaXN0XzAEAAAAAQ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38806815019907"/>
  <p:tag name="EMPOWERCHARTSPROPERTIES_B_LENGTH" val="24576"/>
  <p:tag name="DOWN_MIGRATION_INITIAL_LAYOUT_REQUIRED" val="9.2.99"/>
  <p:tag name="RUNTIME_ID" val="6bc7bbb3-f407-46bf-85d0-ef90f40fb66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F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wMBAQEBAQEBAQEBAQEBAQMAAAAAAAAAAwAAAAMAAAAA/////wUA/gsAAAAAAAAAAAAAIAD///////////////8AAAD////////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DAP///////wUAAAACABAAC4GCrnUn9SBGkjHiJANhTlQEAAAAAAADAAAAAAADAAAAAwADAAAAAAD///////8DAAAAAAD///////8DAAEA////////BQAAAAMAEAALiKLGg3uSQkmOHwGGJqykrAQAAAABAAMAAAACAAMAAAAEAAQAAQD///////8FAAAABAAQAAv5lDiHxGwMQ5Dxo4SOZLwo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J0OAAAAAAAAAAAAAP////9hAGEAAAAFX2lkABAAAAAEgYKudSf1IEaSMeIkA2FOVAREYXRhAAUAAAAAAk5hbWUADQAAAExpbmtEYXRhTGlzdAAQVmVyc2lvbgABAAAACUxhc3RXcml0ZQD2NL9lkgEAAAABAP////9hAGEAAAAFX2lkABAAAAAEiKLGg3uSQkmOHwGGJqykrAREYXRhAAUAAAAAAk5hbWUADQAAAExpbmtEYXRhTGlzdAAQVmVyc2lvbgAAAAAACUxhc3RXcml0ZQDyNL9lkgEAAAACAP////9wAHAAAAAFX2lkABAAAAAE+ZQ4h8RsDEOQ8aOEjmS8KANEYXRhABYAAAACUGVyc29uYWxJZAABAAAAAAACTmFtZQALAAAAUGVyc29uYWxJZAAQVmVyc2lvbgAAAAAACUxhc3RXcml0ZQBLNb9lkg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AGDAAAAAAAAAAAAAAgAf///////////////wAAAP///////////////wUAAAADAP///////wUAAAAC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MBAwAAAAIA////////DgAGTGlua0RhdGFMaXN0XzEEAAAAAAAFAAAAAwAFAAAABAAFAAAAAAD///////8FAAAAAAD///////8DAAEBAwAAAAMA////////DgAGTGlua0RhdGFMaXN0XzAEAAAAAQAFAAAAAAAFAAAAAgAEAAEBAwAAAAQA////////DAAGUGVyc29uYWxJZF8wBAAAAAIABQAAAAIABQ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LASTWRITEDATE" val="638638806829008092"/>
  <p:tag name="EMPOWERCHARTSPROPERTIES_B_LENGTH" val="24576"/>
  <p:tag name="DOWN_MIGRATION_INITIAL_LAYOUT_REQUIRED" val="9.2.99"/>
  <p:tag name="RUNTIME_ID" val="6ffb01ec-fbbd-4134-995a-613fb707b006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Стандартная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Стандартная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17</TotalTime>
  <Words>886</Words>
  <Application>Microsoft Office PowerPoint</Application>
  <PresentationFormat>Широкоэкранный</PresentationFormat>
  <Paragraphs>182</Paragraphs>
  <Slides>13</Slides>
  <Notes>5</Notes>
  <HiddenSlides>2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9" baseType="lpstr">
      <vt:lpstr>Aptos</vt:lpstr>
      <vt:lpstr>Aptos Display</vt:lpstr>
      <vt:lpstr>Arial</vt:lpstr>
      <vt:lpstr>Calibri</vt:lpstr>
      <vt:lpstr>Helvetica Neue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Матюшина Екатерина</dc:creator>
  <cp:lastModifiedBy>Andrey Ziganshin</cp:lastModifiedBy>
  <cp:revision>24</cp:revision>
  <dcterms:created xsi:type="dcterms:W3CDTF">2024-10-02T10:10:09Z</dcterms:created>
  <dcterms:modified xsi:type="dcterms:W3CDTF">2024-12-10T07:19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8846876</vt:lpwstr>
  </property>
  <property fmtid="{D5CDD505-2E9C-101B-9397-08002B2CF9AE}" pid="3" name="NXPowerLiteSettings">
    <vt:lpwstr>F7000400038000</vt:lpwstr>
  </property>
  <property fmtid="{D5CDD505-2E9C-101B-9397-08002B2CF9AE}" pid="4" name="NXPowerLiteVersion">
    <vt:lpwstr>S10.3.0</vt:lpwstr>
  </property>
  <property fmtid="{D5CDD505-2E9C-101B-9397-08002B2CF9AE}" pid="5" name="MSIP_Label_2c76c141-ac86-40e5-abf2-c6f60e474cee_Enabled">
    <vt:lpwstr>true</vt:lpwstr>
  </property>
  <property fmtid="{D5CDD505-2E9C-101B-9397-08002B2CF9AE}" pid="6" name="MSIP_Label_2c76c141-ac86-40e5-abf2-c6f60e474cee_SetDate">
    <vt:lpwstr>2024-10-07T07:01:18Z</vt:lpwstr>
  </property>
  <property fmtid="{D5CDD505-2E9C-101B-9397-08002B2CF9AE}" pid="7" name="MSIP_Label_2c76c141-ac86-40e5-abf2-c6f60e474cee_Method">
    <vt:lpwstr>Standard</vt:lpwstr>
  </property>
  <property fmtid="{D5CDD505-2E9C-101B-9397-08002B2CF9AE}" pid="8" name="MSIP_Label_2c76c141-ac86-40e5-abf2-c6f60e474cee_Name">
    <vt:lpwstr>2c76c141-ac86-40e5-abf2-c6f60e474cee</vt:lpwstr>
  </property>
  <property fmtid="{D5CDD505-2E9C-101B-9397-08002B2CF9AE}" pid="9" name="MSIP_Label_2c76c141-ac86-40e5-abf2-c6f60e474cee_SiteId">
    <vt:lpwstr>fcb2b37b-5da0-466b-9b83-0014b67a7c78</vt:lpwstr>
  </property>
  <property fmtid="{D5CDD505-2E9C-101B-9397-08002B2CF9AE}" pid="10" name="MSIP_Label_2c76c141-ac86-40e5-abf2-c6f60e474cee_ActionId">
    <vt:lpwstr>48f96c59-61e9-4b2b-8e47-c31c77fbf677</vt:lpwstr>
  </property>
  <property fmtid="{D5CDD505-2E9C-101B-9397-08002B2CF9AE}" pid="11" name="MSIP_Label_2c76c141-ac86-40e5-abf2-c6f60e474cee_ContentBits">
    <vt:lpwstr>2</vt:lpwstr>
  </property>
  <property fmtid="{D5CDD505-2E9C-101B-9397-08002B2CF9AE}" pid="12" name="ClassificationContentMarkingFooterLocations">
    <vt:lpwstr>Тема Office:3</vt:lpwstr>
  </property>
  <property fmtid="{D5CDD505-2E9C-101B-9397-08002B2CF9AE}" pid="13" name="ClassificationContentMarkingFooterText">
    <vt:lpwstr>RESTRICTED</vt:lpwstr>
  </property>
</Properties>
</file>